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8"/>
  </p:notesMasterIdLst>
  <p:sldIdLst>
    <p:sldId id="262" r:id="rId3"/>
    <p:sldId id="263" r:id="rId4"/>
    <p:sldId id="1056" r:id="rId5"/>
    <p:sldId id="1063" r:id="rId6"/>
    <p:sldId id="1177" r:id="rId7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7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43275-F60D-499E-83D5-819B0FE17119}" type="datetimeFigureOut">
              <a:rPr lang="es-CL" smtClean="0"/>
              <a:t>15-06-2023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C4E178-8687-40B5-808C-1EC20C352FD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51391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DB8BF8-3D5D-45F3-B30A-EC327C4F1B3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562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DB8BF8-3D5D-45F3-B30A-EC327C4F1B3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0314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63" Type="http://schemas.openxmlformats.org/officeDocument/2006/relationships/image" Target="../media/image6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29" Type="http://schemas.openxmlformats.org/officeDocument/2006/relationships/image" Target="../media/image29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5" Type="http://schemas.openxmlformats.org/officeDocument/2006/relationships/image" Target="../media/image5.png"/><Relationship Id="rId61" Type="http://schemas.openxmlformats.org/officeDocument/2006/relationships/image" Target="../media/image61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56" Type="http://schemas.openxmlformats.org/officeDocument/2006/relationships/image" Target="../media/image56.png"/><Relationship Id="rId64" Type="http://schemas.openxmlformats.org/officeDocument/2006/relationships/image" Target="../media/image1.emf"/><Relationship Id="rId8" Type="http://schemas.openxmlformats.org/officeDocument/2006/relationships/image" Target="../media/image8.png"/><Relationship Id="rId51" Type="http://schemas.openxmlformats.org/officeDocument/2006/relationships/image" Target="../media/image51.png"/><Relationship Id="rId3" Type="http://schemas.openxmlformats.org/officeDocument/2006/relationships/image" Target="../media/image3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052" y="6536531"/>
            <a:ext cx="391128" cy="31354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32466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4"/>
            <a:ext cx="5652050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336550" y="1268413"/>
            <a:ext cx="5651500" cy="336651"/>
          </a:xfrm>
        </p:spPr>
        <p:txBody>
          <a:bodyPr>
            <a:normAutofit/>
          </a:bodyPr>
          <a:lstStyle>
            <a:lvl1pPr>
              <a:defRPr sz="1400" b="1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16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400" y="1682884"/>
            <a:ext cx="5652050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6203950" y="1268413"/>
            <a:ext cx="5651500" cy="336651"/>
          </a:xfrm>
        </p:spPr>
        <p:txBody>
          <a:bodyPr>
            <a:normAutofit/>
          </a:bodyPr>
          <a:lstStyle>
            <a:lvl1pPr>
              <a:defRPr sz="1400" b="1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</p:spTree>
    <p:extLst>
      <p:ext uri="{BB962C8B-B14F-4D97-AF65-F5344CB8AC3E}">
        <p14:creationId xmlns:p14="http://schemas.microsoft.com/office/powerpoint/2010/main" val="1352300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115194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3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336000" y="3789363"/>
            <a:ext cx="115194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0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555789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4"/>
            <a:ext cx="115194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3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336549" y="1268413"/>
            <a:ext cx="11518329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14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336000" y="4203834"/>
            <a:ext cx="115194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36549" y="3789363"/>
            <a:ext cx="11518329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</p:spTree>
    <p:extLst>
      <p:ext uri="{BB962C8B-B14F-4D97-AF65-F5344CB8AC3E}">
        <p14:creationId xmlns:p14="http://schemas.microsoft.com/office/powerpoint/2010/main" val="3733806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6203950" y="1268413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36000" y="3792775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6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950" y="3792775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932040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3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4"/>
            <a:ext cx="56520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336550" y="1268413"/>
            <a:ext cx="5651500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18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400" y="1682884"/>
            <a:ext cx="56520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9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6203950" y="1268413"/>
            <a:ext cx="5651500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  <p:sp>
        <p:nvSpPr>
          <p:cNvPr id="24" name="Espaço Reservado para Conteúdo 14"/>
          <p:cNvSpPr>
            <a:spLocks noGrp="1"/>
          </p:cNvSpPr>
          <p:nvPr>
            <p:ph sz="quarter" idx="22"/>
          </p:nvPr>
        </p:nvSpPr>
        <p:spPr>
          <a:xfrm>
            <a:off x="336000" y="4208914"/>
            <a:ext cx="56520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5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336550" y="3794443"/>
            <a:ext cx="5651500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3</a:t>
            </a:r>
          </a:p>
        </p:txBody>
      </p:sp>
      <p:sp>
        <p:nvSpPr>
          <p:cNvPr id="26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6203400" y="4208914"/>
            <a:ext cx="5652050" cy="1890579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7" name="Espaço Reservado para Texto 3"/>
          <p:cNvSpPr>
            <a:spLocks noGrp="1"/>
          </p:cNvSpPr>
          <p:nvPr>
            <p:ph type="body" sz="quarter" idx="25" hasCustomPrompt="1"/>
          </p:nvPr>
        </p:nvSpPr>
        <p:spPr>
          <a:xfrm>
            <a:off x="6203950" y="3794443"/>
            <a:ext cx="5651500" cy="33665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4</a:t>
            </a:r>
          </a:p>
        </p:txBody>
      </p:sp>
    </p:spTree>
    <p:extLst>
      <p:ext uri="{BB962C8B-B14F-4D97-AF65-F5344CB8AC3E}">
        <p14:creationId xmlns:p14="http://schemas.microsoft.com/office/powerpoint/2010/main" val="1740813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475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4253938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8164400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538991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  <p15:guide id="8" pos="26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8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19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4254107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  <p:sp>
        <p:nvSpPr>
          <p:cNvPr id="20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8171664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3</a:t>
            </a:r>
          </a:p>
        </p:txBody>
      </p:sp>
      <p:sp>
        <p:nvSpPr>
          <p:cNvPr id="21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76401"/>
            <a:ext cx="3689900" cy="4416424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2" name="Espaço Reservado para Conteúdo 14"/>
          <p:cNvSpPr>
            <a:spLocks noGrp="1"/>
          </p:cNvSpPr>
          <p:nvPr>
            <p:ph sz="quarter" idx="30"/>
          </p:nvPr>
        </p:nvSpPr>
        <p:spPr>
          <a:xfrm>
            <a:off x="4247541" y="1676401"/>
            <a:ext cx="3689900" cy="4416424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3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8159082" y="1676401"/>
            <a:ext cx="3689900" cy="4416424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12129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  <p15:guide id="8" pos="267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0763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4253376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8165988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3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340763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4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4253376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5" name="Espaço Reservado para Conteúdo 14"/>
          <p:cNvSpPr>
            <a:spLocks noGrp="1"/>
          </p:cNvSpPr>
          <p:nvPr>
            <p:ph sz="quarter" idx="22"/>
          </p:nvPr>
        </p:nvSpPr>
        <p:spPr>
          <a:xfrm>
            <a:off x="8165988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4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219253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  <p15:guide id="8" pos="2678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225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0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1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23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4248091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  <p:sp>
        <p:nvSpPr>
          <p:cNvPr id="25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8159632" y="1268414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3</a:t>
            </a:r>
          </a:p>
        </p:txBody>
      </p:sp>
      <p:sp>
        <p:nvSpPr>
          <p:cNvPr id="2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76401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30"/>
          </p:nvPr>
        </p:nvSpPr>
        <p:spPr>
          <a:xfrm>
            <a:off x="4247541" y="1676401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8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8159082" y="1676401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9" name="Espaço Reservado para Texto 3"/>
          <p:cNvSpPr>
            <a:spLocks noGrp="1"/>
          </p:cNvSpPr>
          <p:nvPr>
            <p:ph type="body" sz="quarter" idx="33" hasCustomPrompt="1"/>
          </p:nvPr>
        </p:nvSpPr>
        <p:spPr>
          <a:xfrm>
            <a:off x="336550" y="3787777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4</a:t>
            </a:r>
          </a:p>
        </p:txBody>
      </p:sp>
      <p:sp>
        <p:nvSpPr>
          <p:cNvPr id="30" name="Espaço Reservado para Texto 3"/>
          <p:cNvSpPr>
            <a:spLocks noGrp="1"/>
          </p:cNvSpPr>
          <p:nvPr>
            <p:ph type="body" sz="quarter" idx="34" hasCustomPrompt="1"/>
          </p:nvPr>
        </p:nvSpPr>
        <p:spPr>
          <a:xfrm>
            <a:off x="4248091" y="3787777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5</a:t>
            </a:r>
          </a:p>
        </p:txBody>
      </p:sp>
      <p:sp>
        <p:nvSpPr>
          <p:cNvPr id="31" name="Espaço Reservado para Texto 3"/>
          <p:cNvSpPr>
            <a:spLocks noGrp="1"/>
          </p:cNvSpPr>
          <p:nvPr>
            <p:ph type="body" sz="quarter" idx="35" hasCustomPrompt="1"/>
          </p:nvPr>
        </p:nvSpPr>
        <p:spPr>
          <a:xfrm>
            <a:off x="8159632" y="3787777"/>
            <a:ext cx="3689350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6</a:t>
            </a:r>
          </a:p>
        </p:txBody>
      </p:sp>
      <p:sp>
        <p:nvSpPr>
          <p:cNvPr id="32" name="Espaço Reservado para Conteúdo 14"/>
          <p:cNvSpPr>
            <a:spLocks noGrp="1"/>
          </p:cNvSpPr>
          <p:nvPr>
            <p:ph sz="quarter" idx="36"/>
          </p:nvPr>
        </p:nvSpPr>
        <p:spPr>
          <a:xfrm>
            <a:off x="336000" y="4195764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3" name="Espaço Reservado para Conteúdo 14"/>
          <p:cNvSpPr>
            <a:spLocks noGrp="1"/>
          </p:cNvSpPr>
          <p:nvPr>
            <p:ph sz="quarter" idx="37"/>
          </p:nvPr>
        </p:nvSpPr>
        <p:spPr>
          <a:xfrm>
            <a:off x="4247541" y="4195764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4" name="Espaço Reservado para Conteúdo 14"/>
          <p:cNvSpPr>
            <a:spLocks noGrp="1"/>
          </p:cNvSpPr>
          <p:nvPr>
            <p:ph sz="quarter" idx="38"/>
          </p:nvPr>
        </p:nvSpPr>
        <p:spPr>
          <a:xfrm>
            <a:off x="8159082" y="4195764"/>
            <a:ext cx="3689900" cy="1897062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118265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  <p15:guide id="8" pos="2678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225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937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276050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9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6208163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1" name="Espaço Reservado para Conteúdo 14"/>
          <p:cNvSpPr>
            <a:spLocks noGrp="1"/>
          </p:cNvSpPr>
          <p:nvPr>
            <p:ph sz="quarter" idx="23"/>
          </p:nvPr>
        </p:nvSpPr>
        <p:spPr>
          <a:xfrm>
            <a:off x="9140276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65428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619656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3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14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5"/>
            <a:ext cx="2716763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3277151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  <p:sp>
        <p:nvSpPr>
          <p:cNvPr id="18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276601" y="1682885"/>
            <a:ext cx="2716763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9" name="Espaço Reservado para Texto 3"/>
          <p:cNvSpPr>
            <a:spLocks noGrp="1"/>
          </p:cNvSpPr>
          <p:nvPr>
            <p:ph type="body" sz="quarter" idx="27" hasCustomPrompt="1"/>
          </p:nvPr>
        </p:nvSpPr>
        <p:spPr>
          <a:xfrm>
            <a:off x="6217607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3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28"/>
          </p:nvPr>
        </p:nvSpPr>
        <p:spPr>
          <a:xfrm>
            <a:off x="6217057" y="1682885"/>
            <a:ext cx="2716763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8" name="Espaço Reservado para Texto 3"/>
          <p:cNvSpPr>
            <a:spLocks noGrp="1"/>
          </p:cNvSpPr>
          <p:nvPr>
            <p:ph type="body" sz="quarter" idx="31" hasCustomPrompt="1"/>
          </p:nvPr>
        </p:nvSpPr>
        <p:spPr>
          <a:xfrm>
            <a:off x="9158208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4</a:t>
            </a:r>
          </a:p>
        </p:txBody>
      </p:sp>
      <p:sp>
        <p:nvSpPr>
          <p:cNvPr id="29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9157658" y="1682885"/>
            <a:ext cx="2716763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5648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pos="2061">
          <p15:clr>
            <a:srgbClr val="FBAE40"/>
          </p15:clr>
        </p15:guide>
        <p15:guide id="5" pos="1923">
          <p15:clr>
            <a:srgbClr val="FBAE40"/>
          </p15:clr>
        </p15:guide>
        <p15:guide id="6" pos="5621">
          <p15:clr>
            <a:srgbClr val="FBAE40"/>
          </p15:clr>
        </p15:guide>
        <p15:guide id="7" pos="575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937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276050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9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6208163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1" name="Espaço Reservado para Conteúdo 14"/>
          <p:cNvSpPr>
            <a:spLocks noGrp="1"/>
          </p:cNvSpPr>
          <p:nvPr>
            <p:ph sz="quarter" idx="23"/>
          </p:nvPr>
        </p:nvSpPr>
        <p:spPr>
          <a:xfrm>
            <a:off x="9140276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7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43937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8" name="Espaço Reservado para Conteúdo 14"/>
          <p:cNvSpPr>
            <a:spLocks noGrp="1"/>
          </p:cNvSpPr>
          <p:nvPr>
            <p:ph sz="quarter" idx="25"/>
          </p:nvPr>
        </p:nvSpPr>
        <p:spPr>
          <a:xfrm>
            <a:off x="3276050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26"/>
          </p:nvPr>
        </p:nvSpPr>
        <p:spPr>
          <a:xfrm>
            <a:off x="6208163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27"/>
          </p:nvPr>
        </p:nvSpPr>
        <p:spPr>
          <a:xfrm>
            <a:off x="9140276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408626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2251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7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  <p:sp>
        <p:nvSpPr>
          <p:cNvPr id="28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5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29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3277151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2</a:t>
            </a:r>
          </a:p>
        </p:txBody>
      </p:sp>
      <p:sp>
        <p:nvSpPr>
          <p:cNvPr id="30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276601" y="1682885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1" name="Espaço Reservado para Texto 3"/>
          <p:cNvSpPr>
            <a:spLocks noGrp="1"/>
          </p:cNvSpPr>
          <p:nvPr>
            <p:ph type="body" sz="quarter" idx="27" hasCustomPrompt="1"/>
          </p:nvPr>
        </p:nvSpPr>
        <p:spPr>
          <a:xfrm>
            <a:off x="6217607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3</a:t>
            </a:r>
          </a:p>
        </p:txBody>
      </p:sp>
      <p:sp>
        <p:nvSpPr>
          <p:cNvPr id="32" name="Espaço Reservado para Conteúdo 14"/>
          <p:cNvSpPr>
            <a:spLocks noGrp="1"/>
          </p:cNvSpPr>
          <p:nvPr>
            <p:ph sz="quarter" idx="28"/>
          </p:nvPr>
        </p:nvSpPr>
        <p:spPr>
          <a:xfrm>
            <a:off x="6217057" y="1682885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3" name="Espaço Reservado para Texto 3"/>
          <p:cNvSpPr>
            <a:spLocks noGrp="1"/>
          </p:cNvSpPr>
          <p:nvPr>
            <p:ph type="body" sz="quarter" idx="31" hasCustomPrompt="1"/>
          </p:nvPr>
        </p:nvSpPr>
        <p:spPr>
          <a:xfrm>
            <a:off x="9158208" y="1268414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4</a:t>
            </a:r>
          </a:p>
        </p:txBody>
      </p:sp>
      <p:sp>
        <p:nvSpPr>
          <p:cNvPr id="34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9157658" y="1682885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7" name="Espaço Reservado para Texto 3"/>
          <p:cNvSpPr>
            <a:spLocks noGrp="1"/>
          </p:cNvSpPr>
          <p:nvPr>
            <p:ph type="body" sz="quarter" idx="33" hasCustomPrompt="1"/>
          </p:nvPr>
        </p:nvSpPr>
        <p:spPr>
          <a:xfrm>
            <a:off x="336550" y="3787777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5</a:t>
            </a:r>
          </a:p>
        </p:txBody>
      </p:sp>
      <p:sp>
        <p:nvSpPr>
          <p:cNvPr id="38" name="Espaço Reservado para Conteúdo 14"/>
          <p:cNvSpPr>
            <a:spLocks noGrp="1"/>
          </p:cNvSpPr>
          <p:nvPr>
            <p:ph sz="quarter" idx="34"/>
          </p:nvPr>
        </p:nvSpPr>
        <p:spPr>
          <a:xfrm>
            <a:off x="336000" y="4202248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9" name="Espaço Reservado para Texto 3"/>
          <p:cNvSpPr>
            <a:spLocks noGrp="1"/>
          </p:cNvSpPr>
          <p:nvPr>
            <p:ph type="body" sz="quarter" idx="35" hasCustomPrompt="1"/>
          </p:nvPr>
        </p:nvSpPr>
        <p:spPr>
          <a:xfrm>
            <a:off x="3277151" y="3787777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6</a:t>
            </a:r>
          </a:p>
        </p:txBody>
      </p:sp>
      <p:sp>
        <p:nvSpPr>
          <p:cNvPr id="40" name="Espaço Reservado para Conteúdo 14"/>
          <p:cNvSpPr>
            <a:spLocks noGrp="1"/>
          </p:cNvSpPr>
          <p:nvPr>
            <p:ph sz="quarter" idx="36"/>
          </p:nvPr>
        </p:nvSpPr>
        <p:spPr>
          <a:xfrm>
            <a:off x="3276601" y="4202248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1" name="Espaço Reservado para Texto 3"/>
          <p:cNvSpPr>
            <a:spLocks noGrp="1"/>
          </p:cNvSpPr>
          <p:nvPr>
            <p:ph type="body" sz="quarter" idx="37" hasCustomPrompt="1"/>
          </p:nvPr>
        </p:nvSpPr>
        <p:spPr>
          <a:xfrm>
            <a:off x="6217607" y="3787777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7</a:t>
            </a:r>
          </a:p>
        </p:txBody>
      </p:sp>
      <p:sp>
        <p:nvSpPr>
          <p:cNvPr id="42" name="Espaço Reservado para Conteúdo 14"/>
          <p:cNvSpPr>
            <a:spLocks noGrp="1"/>
          </p:cNvSpPr>
          <p:nvPr>
            <p:ph sz="quarter" idx="38"/>
          </p:nvPr>
        </p:nvSpPr>
        <p:spPr>
          <a:xfrm>
            <a:off x="6217057" y="4202248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1" name="Espaço Reservado para Texto 3"/>
          <p:cNvSpPr>
            <a:spLocks noGrp="1"/>
          </p:cNvSpPr>
          <p:nvPr>
            <p:ph type="body" sz="quarter" idx="39" hasCustomPrompt="1"/>
          </p:nvPr>
        </p:nvSpPr>
        <p:spPr>
          <a:xfrm>
            <a:off x="9158208" y="3787777"/>
            <a:ext cx="2716358" cy="340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pt-BR" sz="1400" b="1" dirty="0" smtClean="0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8</a:t>
            </a:r>
          </a:p>
        </p:txBody>
      </p:sp>
      <p:sp>
        <p:nvSpPr>
          <p:cNvPr id="52" name="Espaço Reservado para Conteúdo 14"/>
          <p:cNvSpPr>
            <a:spLocks noGrp="1"/>
          </p:cNvSpPr>
          <p:nvPr>
            <p:ph sz="quarter" idx="40"/>
          </p:nvPr>
        </p:nvSpPr>
        <p:spPr>
          <a:xfrm>
            <a:off x="9157658" y="4202248"/>
            <a:ext cx="2716763" cy="1890577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667110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  <p15:guide id="10" orient="horz" pos="2387">
          <p15:clr>
            <a:srgbClr val="FBAE40"/>
          </p15:clr>
        </p15:guide>
        <p15:guide id="11" orient="horz" pos="225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Padr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38519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sem Rodap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447850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3667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5BCCE-DA08-4C88-BBF4-502EF24F851C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6/202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B605E-D2D9-4F19-A99A-EBFA6C7BBCE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0601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5BCCE-DA08-4C88-BBF4-502EF24F851C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6/202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B605E-D2D9-4F19-A99A-EBFA6C7BBCE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0747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4" y="317290"/>
            <a:ext cx="112649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365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6056" y="5935113"/>
            <a:ext cx="1535907" cy="61577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05325" y="3149645"/>
            <a:ext cx="7350123" cy="1249683"/>
          </a:xfrm>
        </p:spPr>
        <p:txBody>
          <a:bodyPr anchor="b">
            <a:noAutofit/>
          </a:bodyPr>
          <a:lstStyle>
            <a:lvl1pPr marL="0" indent="0" algn="l">
              <a:defRPr sz="4000" b="1">
                <a:solidFill>
                  <a:schemeClr val="accent6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505322" y="4399327"/>
            <a:ext cx="7350124" cy="519708"/>
          </a:xfrm>
        </p:spPr>
        <p:txBody>
          <a:bodyPr>
            <a:normAutofit/>
          </a:bodyPr>
          <a:lstStyle>
            <a:lvl1pPr marL="0" indent="0" algn="l">
              <a:buNone/>
              <a:defRPr sz="2000" b="0">
                <a:solidFill>
                  <a:schemeClr val="accent6"/>
                </a:solidFill>
                <a:latin typeface="+mj-lt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pt-BR" dirty="0"/>
          </a:p>
        </p:txBody>
      </p:sp>
      <p:grpSp>
        <p:nvGrpSpPr>
          <p:cNvPr id="10" name="Agrupar 9"/>
          <p:cNvGrpSpPr/>
          <p:nvPr/>
        </p:nvGrpSpPr>
        <p:grpSpPr>
          <a:xfrm>
            <a:off x="0" y="1190489"/>
            <a:ext cx="4398849" cy="5529625"/>
            <a:chOff x="248339" y="525112"/>
            <a:chExt cx="4001290" cy="5029869"/>
          </a:xfrm>
        </p:grpSpPr>
        <p:pic>
          <p:nvPicPr>
            <p:cNvPr id="11" name="Imagem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7008" y="5223277"/>
              <a:ext cx="358272" cy="331704"/>
            </a:xfrm>
            <a:prstGeom prst="rect">
              <a:avLst/>
            </a:prstGeom>
          </p:spPr>
        </p:pic>
        <p:pic>
          <p:nvPicPr>
            <p:cNvPr id="12" name="Imagem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7996" y="4937760"/>
              <a:ext cx="530912" cy="491541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9916" y="4701540"/>
              <a:ext cx="440378" cy="407721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6576" y="4587240"/>
              <a:ext cx="325154" cy="301041"/>
            </a:xfrm>
            <a:prstGeom prst="rect">
              <a:avLst/>
            </a:prstGeom>
          </p:spPr>
        </p:pic>
        <p:pic>
          <p:nvPicPr>
            <p:cNvPr id="15" name="Imagem 1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6595" y="4465320"/>
              <a:ext cx="390997" cy="362001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5196" y="4389120"/>
              <a:ext cx="325154" cy="301041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49435" y="4274820"/>
              <a:ext cx="436209" cy="403860"/>
            </a:xfrm>
            <a:prstGeom prst="rect">
              <a:avLst/>
            </a:prstGeom>
          </p:spPr>
        </p:pic>
        <p:pic>
          <p:nvPicPr>
            <p:cNvPr id="18" name="Imagem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4196" y="3916680"/>
              <a:ext cx="522682" cy="483921"/>
            </a:xfrm>
            <a:prstGeom prst="rect">
              <a:avLst/>
            </a:prstGeom>
          </p:spPr>
        </p:pic>
        <p:pic>
          <p:nvPicPr>
            <p:cNvPr id="19" name="Imagem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8035" y="4107180"/>
              <a:ext cx="440379" cy="407721"/>
            </a:xfrm>
            <a:prstGeom prst="rect">
              <a:avLst/>
            </a:prstGeom>
          </p:spPr>
        </p:pic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9520" y="3855720"/>
              <a:ext cx="390997" cy="362001"/>
            </a:xfrm>
            <a:prstGeom prst="rect">
              <a:avLst/>
            </a:prstGeom>
          </p:spPr>
        </p:pic>
        <p:pic>
          <p:nvPicPr>
            <p:cNvPr id="21" name="Imagem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3271" y="3565616"/>
              <a:ext cx="613804" cy="568286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2995" y="3762374"/>
              <a:ext cx="277830" cy="257227"/>
            </a:xfrm>
            <a:prstGeom prst="rect">
              <a:avLst/>
            </a:prstGeom>
          </p:spPr>
        </p:pic>
        <p:pic>
          <p:nvPicPr>
            <p:cNvPr id="23" name="Imagem 2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5845" y="3562349"/>
              <a:ext cx="277830" cy="257227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0946" y="3403691"/>
              <a:ext cx="613804" cy="568286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5485" y="3419474"/>
              <a:ext cx="483589" cy="447727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7819" y="3248025"/>
              <a:ext cx="298405" cy="276276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580" y="2886075"/>
              <a:ext cx="925969" cy="857301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38971" y="3251291"/>
              <a:ext cx="613804" cy="568286"/>
            </a:xfrm>
            <a:prstGeom prst="rect">
              <a:avLst/>
            </a:prstGeom>
          </p:spPr>
        </p:pic>
        <p:pic>
          <p:nvPicPr>
            <p:cNvPr id="29" name="Imagem 28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7481" y="2895600"/>
              <a:ext cx="432148" cy="400101"/>
            </a:xfrm>
            <a:prstGeom prst="rect">
              <a:avLst/>
            </a:prstGeom>
          </p:spPr>
        </p:pic>
        <p:pic>
          <p:nvPicPr>
            <p:cNvPr id="30" name="Imagem 29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1386" y="3248025"/>
              <a:ext cx="288117" cy="266751"/>
            </a:xfrm>
            <a:prstGeom prst="rect">
              <a:avLst/>
            </a:prstGeom>
          </p:spPr>
        </p:pic>
        <p:pic>
          <p:nvPicPr>
            <p:cNvPr id="31" name="Imagem 30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2183" y="3105150"/>
              <a:ext cx="545316" cy="504876"/>
            </a:xfrm>
            <a:prstGeom prst="rect">
              <a:avLst/>
            </a:prstGeom>
          </p:spPr>
        </p:pic>
        <p:pic>
          <p:nvPicPr>
            <p:cNvPr id="32" name="Imagem 31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552" y="2781300"/>
              <a:ext cx="689347" cy="638226"/>
            </a:xfrm>
            <a:prstGeom prst="rect">
              <a:avLst/>
            </a:prstGeom>
          </p:spPr>
        </p:pic>
        <p:pic>
          <p:nvPicPr>
            <p:cNvPr id="33" name="Imagem 32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1975" y="2367626"/>
              <a:ext cx="971549" cy="899500"/>
            </a:xfrm>
            <a:prstGeom prst="rect">
              <a:avLst/>
            </a:prstGeom>
          </p:spPr>
        </p:pic>
        <p:pic>
          <p:nvPicPr>
            <p:cNvPr id="34" name="Imagem 33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3453" y="2495549"/>
              <a:ext cx="452724" cy="419151"/>
            </a:xfrm>
            <a:prstGeom prst="rect">
              <a:avLst/>
            </a:prstGeom>
          </p:spPr>
        </p:pic>
        <p:pic>
          <p:nvPicPr>
            <p:cNvPr id="35" name="Imagem 34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1971" y="2705100"/>
              <a:ext cx="339556" cy="314375"/>
            </a:xfrm>
            <a:prstGeom prst="rect">
              <a:avLst/>
            </a:prstGeom>
          </p:spPr>
        </p:pic>
        <p:pic>
          <p:nvPicPr>
            <p:cNvPr id="36" name="Imagem 35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3846" y="2466976"/>
              <a:ext cx="164607" cy="152400"/>
            </a:xfrm>
            <a:prstGeom prst="rect">
              <a:avLst/>
            </a:prstGeom>
          </p:spPr>
        </p:pic>
        <p:pic>
          <p:nvPicPr>
            <p:cNvPr id="37" name="Imagem 36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5650" y="2676525"/>
              <a:ext cx="477752" cy="442323"/>
            </a:xfrm>
            <a:prstGeom prst="rect">
              <a:avLst/>
            </a:prstGeom>
          </p:spPr>
        </p:pic>
        <p:pic>
          <p:nvPicPr>
            <p:cNvPr id="38" name="Imagem 37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2825" y="2624138"/>
              <a:ext cx="226334" cy="209550"/>
            </a:xfrm>
            <a:prstGeom prst="rect">
              <a:avLst/>
            </a:prstGeom>
          </p:spPr>
        </p:pic>
        <p:pic>
          <p:nvPicPr>
            <p:cNvPr id="39" name="Imagem 38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2065" y="2547938"/>
              <a:ext cx="565890" cy="523925"/>
            </a:xfrm>
            <a:prstGeom prst="rect">
              <a:avLst/>
            </a:prstGeom>
          </p:spPr>
        </p:pic>
        <p:pic>
          <p:nvPicPr>
            <p:cNvPr id="40" name="Imagem 39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9425" y="2184336"/>
              <a:ext cx="511090" cy="473189"/>
            </a:xfrm>
            <a:prstGeom prst="rect">
              <a:avLst/>
            </a:prstGeom>
          </p:spPr>
        </p:pic>
        <p:pic>
          <p:nvPicPr>
            <p:cNvPr id="41" name="Imagem 40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8899" y="2127186"/>
              <a:ext cx="675643" cy="625539"/>
            </a:xfrm>
            <a:prstGeom prst="rect">
              <a:avLst/>
            </a:prstGeom>
          </p:spPr>
        </p:pic>
        <p:pic>
          <p:nvPicPr>
            <p:cNvPr id="42" name="Imagem 41"/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0276" y="1993836"/>
              <a:ext cx="913766" cy="846003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1858" y="2052638"/>
              <a:ext cx="339556" cy="314375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5620" y="1928813"/>
              <a:ext cx="339556" cy="314375"/>
            </a:xfrm>
            <a:prstGeom prst="rect">
              <a:avLst/>
            </a:prstGeom>
          </p:spPr>
        </p:pic>
        <p:pic>
          <p:nvPicPr>
            <p:cNvPr id="45" name="Imagem 44"/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6596" y="2634572"/>
              <a:ext cx="878692" cy="813529"/>
            </a:xfrm>
            <a:prstGeom prst="rect">
              <a:avLst/>
            </a:prstGeom>
          </p:spPr>
        </p:pic>
        <p:pic>
          <p:nvPicPr>
            <p:cNvPr id="46" name="Imagem 45"/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4059" y="2229760"/>
              <a:ext cx="245929" cy="227691"/>
            </a:xfrm>
            <a:prstGeom prst="rect">
              <a:avLst/>
            </a:prstGeom>
          </p:spPr>
        </p:pic>
        <p:pic>
          <p:nvPicPr>
            <p:cNvPr id="47" name="Imagem 46"/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3126" y="2061310"/>
              <a:ext cx="309562" cy="286605"/>
            </a:xfrm>
            <a:prstGeom prst="rect">
              <a:avLst/>
            </a:prstGeom>
          </p:spPr>
        </p:pic>
        <p:pic>
          <p:nvPicPr>
            <p:cNvPr id="48" name="Imagem 47"/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2282" y="1900237"/>
              <a:ext cx="180039" cy="166688"/>
            </a:xfrm>
            <a:prstGeom prst="rect">
              <a:avLst/>
            </a:prstGeom>
          </p:spPr>
        </p:pic>
        <p:pic>
          <p:nvPicPr>
            <p:cNvPr id="49" name="Imagem 48"/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6069" y="2114550"/>
              <a:ext cx="180039" cy="166688"/>
            </a:xfrm>
            <a:prstGeom prst="rect">
              <a:avLst/>
            </a:prstGeom>
          </p:spPr>
        </p:pic>
        <p:pic>
          <p:nvPicPr>
            <p:cNvPr id="50" name="Imagem 49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7884" y="2033588"/>
              <a:ext cx="97736" cy="90488"/>
            </a:xfrm>
            <a:prstGeom prst="rect">
              <a:avLst/>
            </a:prstGeom>
          </p:spPr>
        </p:pic>
        <p:pic>
          <p:nvPicPr>
            <p:cNvPr id="51" name="Imagem 50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1684" y="1985963"/>
              <a:ext cx="97736" cy="90488"/>
            </a:xfrm>
            <a:prstGeom prst="rect">
              <a:avLst/>
            </a:prstGeom>
          </p:spPr>
        </p:pic>
        <p:pic>
          <p:nvPicPr>
            <p:cNvPr id="52" name="Imagem 51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4534" y="2024063"/>
              <a:ext cx="97736" cy="90488"/>
            </a:xfrm>
            <a:prstGeom prst="rect">
              <a:avLst/>
            </a:prstGeom>
          </p:spPr>
        </p:pic>
        <p:pic>
          <p:nvPicPr>
            <p:cNvPr id="53" name="Imagem 52"/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2620" y="2038350"/>
              <a:ext cx="128579" cy="119044"/>
            </a:xfrm>
            <a:prstGeom prst="rect">
              <a:avLst/>
            </a:prstGeom>
          </p:spPr>
        </p:pic>
        <p:pic>
          <p:nvPicPr>
            <p:cNvPr id="54" name="Imagem 53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3472" y="1995487"/>
              <a:ext cx="97715" cy="90469"/>
            </a:xfrm>
            <a:prstGeom prst="rect">
              <a:avLst/>
            </a:prstGeom>
          </p:spPr>
        </p:pic>
        <p:pic>
          <p:nvPicPr>
            <p:cNvPr id="55" name="Imagem 54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1085" y="1947862"/>
              <a:ext cx="97715" cy="90469"/>
            </a:xfrm>
            <a:prstGeom prst="rect">
              <a:avLst/>
            </a:prstGeom>
          </p:spPr>
        </p:pic>
        <p:pic>
          <p:nvPicPr>
            <p:cNvPr id="56" name="Imagem 55"/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029" y="1916906"/>
              <a:ext cx="126027" cy="116682"/>
            </a:xfrm>
            <a:prstGeom prst="rect">
              <a:avLst/>
            </a:prstGeom>
          </p:spPr>
        </p:pic>
        <p:pic>
          <p:nvPicPr>
            <p:cNvPr id="57" name="Imagem 56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9746" y="1852613"/>
              <a:ext cx="97736" cy="90488"/>
            </a:xfrm>
            <a:prstGeom prst="rect">
              <a:avLst/>
            </a:prstGeom>
          </p:spPr>
        </p:pic>
        <p:pic>
          <p:nvPicPr>
            <p:cNvPr id="58" name="Imagem 57"/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9250" y="1685039"/>
              <a:ext cx="221456" cy="205034"/>
            </a:xfrm>
            <a:prstGeom prst="rect">
              <a:avLst/>
            </a:prstGeom>
          </p:spPr>
        </p:pic>
        <p:pic>
          <p:nvPicPr>
            <p:cNvPr id="59" name="Imagem 58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2581" y="1835577"/>
              <a:ext cx="100012" cy="92595"/>
            </a:xfrm>
            <a:prstGeom prst="rect">
              <a:avLst/>
            </a:prstGeom>
          </p:spPr>
        </p:pic>
        <p:pic>
          <p:nvPicPr>
            <p:cNvPr id="60" name="Imagem 59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8762" y="1652219"/>
              <a:ext cx="173832" cy="160940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8275" y="1683175"/>
              <a:ext cx="173832" cy="160940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462" y="1504582"/>
              <a:ext cx="173832" cy="160940"/>
            </a:xfrm>
            <a:prstGeom prst="rect">
              <a:avLst/>
            </a:prstGeom>
          </p:spPr>
        </p:pic>
        <p:pic>
          <p:nvPicPr>
            <p:cNvPr id="63" name="Imagem 62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7788" y="1592518"/>
              <a:ext cx="235744" cy="218260"/>
            </a:xfrm>
            <a:prstGeom prst="rect">
              <a:avLst/>
            </a:prstGeom>
          </p:spPr>
        </p:pic>
        <p:pic>
          <p:nvPicPr>
            <p:cNvPr id="64" name="Imagem 63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0644" y="1528480"/>
              <a:ext cx="142876" cy="132279"/>
            </a:xfrm>
            <a:prstGeom prst="rect">
              <a:avLst/>
            </a:prstGeom>
          </p:spPr>
        </p:pic>
        <p:pic>
          <p:nvPicPr>
            <p:cNvPr id="65" name="Imagem 64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6374" y="1314082"/>
              <a:ext cx="141858" cy="131337"/>
            </a:xfrm>
            <a:prstGeom prst="rect">
              <a:avLst/>
            </a:prstGeom>
          </p:spPr>
        </p:pic>
        <p:pic>
          <p:nvPicPr>
            <p:cNvPr id="66" name="Imagem 65"/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4938" y="1380322"/>
              <a:ext cx="168050" cy="155586"/>
            </a:xfrm>
            <a:prstGeom prst="rect">
              <a:avLst/>
            </a:prstGeom>
          </p:spPr>
        </p:pic>
        <p:pic>
          <p:nvPicPr>
            <p:cNvPr id="67" name="Imagem 66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6825" y="1483237"/>
              <a:ext cx="142876" cy="132279"/>
            </a:xfrm>
            <a:prstGeom prst="rect">
              <a:avLst/>
            </a:prstGeom>
          </p:spPr>
        </p:pic>
        <p:pic>
          <p:nvPicPr>
            <p:cNvPr id="68" name="Imagem 67"/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3982" y="1476094"/>
              <a:ext cx="80963" cy="74958"/>
            </a:xfrm>
            <a:prstGeom prst="rect">
              <a:avLst/>
            </a:prstGeom>
          </p:spPr>
        </p:pic>
        <p:pic>
          <p:nvPicPr>
            <p:cNvPr id="69" name="Imagem 68"/>
            <p:cNvPicPr>
              <a:picLocks noChangeAspect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9680" y="1532896"/>
              <a:ext cx="202407" cy="187395"/>
            </a:xfrm>
            <a:prstGeom prst="rect">
              <a:avLst/>
            </a:prstGeom>
          </p:spPr>
        </p:pic>
        <p:pic>
          <p:nvPicPr>
            <p:cNvPr id="70" name="Imagem 69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7287" y="1516488"/>
              <a:ext cx="173832" cy="160940"/>
            </a:xfrm>
            <a:prstGeom prst="rect">
              <a:avLst/>
            </a:prstGeom>
          </p:spPr>
        </p:pic>
        <p:pic>
          <p:nvPicPr>
            <p:cNvPr id="71" name="Imagem 70"/>
            <p:cNvPicPr>
              <a:picLocks noChangeAspect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544" y="1399806"/>
              <a:ext cx="337330" cy="312312"/>
            </a:xfrm>
            <a:prstGeom prst="rect">
              <a:avLst/>
            </a:prstGeom>
          </p:spPr>
        </p:pic>
        <p:pic>
          <p:nvPicPr>
            <p:cNvPr id="72" name="Imagem 71"/>
            <p:cNvPicPr>
              <a:picLocks noChangeAspect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6335" y="1300161"/>
              <a:ext cx="213475" cy="197643"/>
            </a:xfrm>
            <a:prstGeom prst="rect">
              <a:avLst/>
            </a:prstGeom>
          </p:spPr>
        </p:pic>
        <p:pic>
          <p:nvPicPr>
            <p:cNvPr id="73" name="Imagem 72"/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554" y="1283493"/>
              <a:ext cx="333346" cy="308624"/>
            </a:xfrm>
            <a:prstGeom prst="rect">
              <a:avLst/>
            </a:prstGeom>
          </p:spPr>
        </p:pic>
        <p:pic>
          <p:nvPicPr>
            <p:cNvPr id="74" name="Imagem 73"/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647" y="631031"/>
              <a:ext cx="333346" cy="308624"/>
            </a:xfrm>
            <a:prstGeom prst="rect">
              <a:avLst/>
            </a:prstGeom>
          </p:spPr>
        </p:pic>
        <p:pic>
          <p:nvPicPr>
            <p:cNvPr id="75" name="Imagem 74"/>
            <p:cNvPicPr>
              <a:picLocks noChangeAspect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753" y="684928"/>
              <a:ext cx="566710" cy="524680"/>
            </a:xfrm>
            <a:prstGeom prst="rect">
              <a:avLst/>
            </a:prstGeom>
          </p:spPr>
        </p:pic>
        <p:pic>
          <p:nvPicPr>
            <p:cNvPr id="76" name="Imagem 75"/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083" y="927269"/>
              <a:ext cx="465292" cy="430784"/>
            </a:xfrm>
            <a:prstGeom prst="rect">
              <a:avLst/>
            </a:prstGeom>
          </p:spPr>
        </p:pic>
        <p:pic>
          <p:nvPicPr>
            <p:cNvPr id="77" name="Imagem 76"/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085" y="1102518"/>
              <a:ext cx="333346" cy="308624"/>
            </a:xfrm>
            <a:prstGeom prst="rect">
              <a:avLst/>
            </a:prstGeom>
          </p:spPr>
        </p:pic>
        <p:pic>
          <p:nvPicPr>
            <p:cNvPr id="78" name="Imagem 77"/>
            <p:cNvPicPr>
              <a:picLocks noChangeAspect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685" y="1283494"/>
              <a:ext cx="215034" cy="199086"/>
            </a:xfrm>
            <a:prstGeom prst="rect">
              <a:avLst/>
            </a:prstGeom>
          </p:spPr>
        </p:pic>
        <p:pic>
          <p:nvPicPr>
            <p:cNvPr id="79" name="Imagem 78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012" y="1125606"/>
              <a:ext cx="70770" cy="65521"/>
            </a:xfrm>
            <a:prstGeom prst="rect">
              <a:avLst/>
            </a:prstGeom>
          </p:spPr>
        </p:pic>
        <p:pic>
          <p:nvPicPr>
            <p:cNvPr id="80" name="Imagem 79"/>
            <p:cNvPicPr>
              <a:picLocks noChangeAspect="1"/>
            </p:cNvPicPr>
            <p:nvPr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620" y="961922"/>
              <a:ext cx="151730" cy="140478"/>
            </a:xfrm>
            <a:prstGeom prst="rect">
              <a:avLst/>
            </a:prstGeom>
          </p:spPr>
        </p:pic>
        <p:pic>
          <p:nvPicPr>
            <p:cNvPr id="81" name="Imagem 80"/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361" y="1083246"/>
              <a:ext cx="79972" cy="74042"/>
            </a:xfrm>
            <a:prstGeom prst="rect">
              <a:avLst/>
            </a:prstGeom>
          </p:spPr>
        </p:pic>
        <p:pic>
          <p:nvPicPr>
            <p:cNvPr id="82" name="Imagem 81"/>
            <p:cNvPicPr>
              <a:picLocks noChangeAspect="1"/>
            </p:cNvPicPr>
            <p:nvPr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5641" y="1031081"/>
              <a:ext cx="92591" cy="85725"/>
            </a:xfrm>
            <a:prstGeom prst="rect">
              <a:avLst/>
            </a:prstGeom>
          </p:spPr>
        </p:pic>
        <p:pic>
          <p:nvPicPr>
            <p:cNvPr id="83" name="Imagem 82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120" y="909638"/>
              <a:ext cx="97606" cy="90368"/>
            </a:xfrm>
            <a:prstGeom prst="rect">
              <a:avLst/>
            </a:prstGeom>
          </p:spPr>
        </p:pic>
        <p:pic>
          <p:nvPicPr>
            <p:cNvPr id="84" name="Imagem 83"/>
            <p:cNvPicPr>
              <a:picLocks noChangeAspect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27" y="813243"/>
              <a:ext cx="130942" cy="121232"/>
            </a:xfrm>
            <a:prstGeom prst="rect">
              <a:avLst/>
            </a:prstGeom>
          </p:spPr>
        </p:pic>
        <p:pic>
          <p:nvPicPr>
            <p:cNvPr id="85" name="Imagem 84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639" y="765618"/>
              <a:ext cx="70679" cy="65438"/>
            </a:xfrm>
            <a:prstGeom prst="rect">
              <a:avLst/>
            </a:prstGeom>
          </p:spPr>
        </p:pic>
        <p:pic>
          <p:nvPicPr>
            <p:cNvPr id="86" name="Imagem 85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01" y="706087"/>
              <a:ext cx="70679" cy="65438"/>
            </a:xfrm>
            <a:prstGeom prst="rect">
              <a:avLst/>
            </a:prstGeom>
          </p:spPr>
        </p:pic>
        <p:pic>
          <p:nvPicPr>
            <p:cNvPr id="87" name="Imagem 86"/>
            <p:cNvPicPr>
              <a:picLocks noChangeAspect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394" y="656081"/>
              <a:ext cx="61887" cy="57298"/>
            </a:xfrm>
            <a:prstGeom prst="rect">
              <a:avLst/>
            </a:prstGeom>
          </p:spPr>
        </p:pic>
        <p:pic>
          <p:nvPicPr>
            <p:cNvPr id="88" name="Imagem 87"/>
            <p:cNvPicPr>
              <a:picLocks noChangeAspect="1"/>
            </p:cNvPicPr>
            <p:nvPr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339" y="525112"/>
              <a:ext cx="116976" cy="108300"/>
            </a:xfrm>
            <a:prstGeom prst="rect">
              <a:avLst/>
            </a:prstGeom>
          </p:spPr>
        </p:pic>
        <p:pic>
          <p:nvPicPr>
            <p:cNvPr id="89" name="Imagem 88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633" y="598931"/>
              <a:ext cx="70679" cy="65438"/>
            </a:xfrm>
            <a:prstGeom prst="rect">
              <a:avLst/>
            </a:prstGeom>
          </p:spPr>
        </p:pic>
        <p:pic>
          <p:nvPicPr>
            <p:cNvPr id="90" name="Imagem 89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3876" y="548925"/>
              <a:ext cx="70679" cy="65438"/>
            </a:xfrm>
            <a:prstGeom prst="rect">
              <a:avLst/>
            </a:prstGeom>
          </p:spPr>
        </p:pic>
        <p:pic>
          <p:nvPicPr>
            <p:cNvPr id="91" name="Imagem 90"/>
            <p:cNvPicPr>
              <a:picLocks noChangeAspect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738" y="587025"/>
              <a:ext cx="70679" cy="65438"/>
            </a:xfrm>
            <a:prstGeom prst="rect">
              <a:avLst/>
            </a:prstGeom>
          </p:spPr>
        </p:pic>
        <p:pic>
          <p:nvPicPr>
            <p:cNvPr id="92" name="Imagem 91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882" y="601313"/>
              <a:ext cx="101542" cy="94012"/>
            </a:xfrm>
            <a:prstGeom prst="rect">
              <a:avLst/>
            </a:prstGeom>
          </p:spPr>
        </p:pic>
        <p:pic>
          <p:nvPicPr>
            <p:cNvPr id="93" name="Imagem 92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3051" y="1154104"/>
              <a:ext cx="49382" cy="45719"/>
            </a:xfrm>
            <a:prstGeom prst="rect">
              <a:avLst/>
            </a:prstGeom>
          </p:spPr>
        </p:pic>
        <p:pic>
          <p:nvPicPr>
            <p:cNvPr id="94" name="Imagem 93"/>
            <p:cNvPicPr>
              <a:picLocks noChangeAspect="1"/>
            </p:cNvPicPr>
            <p:nvPr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4482" y="1096953"/>
              <a:ext cx="104774" cy="97003"/>
            </a:xfrm>
            <a:prstGeom prst="rect">
              <a:avLst/>
            </a:prstGeom>
          </p:spPr>
        </p:pic>
        <p:pic>
          <p:nvPicPr>
            <p:cNvPr id="95" name="Imagem 94"/>
            <p:cNvPicPr>
              <a:picLocks noChangeAspect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6395" y="1082667"/>
              <a:ext cx="66675" cy="61730"/>
            </a:xfrm>
            <a:prstGeom prst="rect">
              <a:avLst/>
            </a:prstGeom>
          </p:spPr>
        </p:pic>
        <p:pic>
          <p:nvPicPr>
            <p:cNvPr id="96" name="Imagem 95"/>
            <p:cNvPicPr>
              <a:picLocks noChangeAspect="1"/>
            </p:cNvPicPr>
            <p:nvPr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9257" y="1056472"/>
              <a:ext cx="104774" cy="97003"/>
            </a:xfrm>
            <a:prstGeom prst="rect">
              <a:avLst/>
            </a:prstGeom>
          </p:spPr>
        </p:pic>
        <p:pic>
          <p:nvPicPr>
            <p:cNvPr id="97" name="Imagem 96"/>
            <p:cNvPicPr>
              <a:picLocks noChangeAspect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6881" y="1076582"/>
              <a:ext cx="133350" cy="123460"/>
            </a:xfrm>
            <a:prstGeom prst="rect">
              <a:avLst/>
            </a:prstGeom>
          </p:spPr>
        </p:pic>
        <p:pic>
          <p:nvPicPr>
            <p:cNvPr id="98" name="Imagem 97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7844" y="1118385"/>
              <a:ext cx="97631" cy="90390"/>
            </a:xfrm>
            <a:prstGeom prst="rect">
              <a:avLst/>
            </a:prstGeom>
          </p:spPr>
        </p:pic>
        <p:pic>
          <p:nvPicPr>
            <p:cNvPr id="99" name="Imagem 98"/>
            <p:cNvPicPr>
              <a:picLocks noChangeAspect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862" y="1147764"/>
              <a:ext cx="114194" cy="105724"/>
            </a:xfrm>
            <a:prstGeom prst="rect">
              <a:avLst/>
            </a:prstGeom>
          </p:spPr>
        </p:pic>
        <p:pic>
          <p:nvPicPr>
            <p:cNvPr id="100" name="Imagem 99"/>
            <p:cNvPicPr>
              <a:picLocks noChangeAspect="1"/>
            </p:cNvPicPr>
            <p:nvPr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4784" y="1183627"/>
              <a:ext cx="149020" cy="137968"/>
            </a:xfrm>
            <a:prstGeom prst="rect">
              <a:avLst/>
            </a:prstGeom>
          </p:spPr>
        </p:pic>
        <p:pic>
          <p:nvPicPr>
            <p:cNvPr id="101" name="Imagem 100"/>
            <p:cNvPicPr>
              <a:picLocks noChangeAspect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7086" y="1231253"/>
              <a:ext cx="87290" cy="80816"/>
            </a:xfrm>
            <a:prstGeom prst="rect">
              <a:avLst/>
            </a:prstGeom>
          </p:spPr>
        </p:pic>
        <p:pic>
          <p:nvPicPr>
            <p:cNvPr id="102" name="Imagem 101"/>
            <p:cNvPicPr>
              <a:picLocks noChangeAspect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47080" y="1271735"/>
              <a:ext cx="87290" cy="80816"/>
            </a:xfrm>
            <a:prstGeom prst="rect">
              <a:avLst/>
            </a:prstGeom>
          </p:spPr>
        </p:pic>
        <p:pic>
          <p:nvPicPr>
            <p:cNvPr id="103" name="Imagem 102"/>
            <p:cNvPicPr>
              <a:picLocks noChangeAspect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04230" y="1290785"/>
              <a:ext cx="87290" cy="80816"/>
            </a:xfrm>
            <a:prstGeom prst="rect">
              <a:avLst/>
            </a:prstGeom>
          </p:spPr>
        </p:pic>
        <p:pic>
          <p:nvPicPr>
            <p:cNvPr id="104" name="Imagem 103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3082" y="1326504"/>
              <a:ext cx="49381" cy="45719"/>
            </a:xfrm>
            <a:prstGeom prst="rect">
              <a:avLst/>
            </a:prstGeom>
          </p:spPr>
        </p:pic>
        <p:pic>
          <p:nvPicPr>
            <p:cNvPr id="105" name="Imagem 104"/>
            <p:cNvPicPr>
              <a:picLocks noChangeAspect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3286" y="1300309"/>
              <a:ext cx="61570" cy="57004"/>
            </a:xfrm>
            <a:prstGeom prst="rect">
              <a:avLst/>
            </a:prstGeom>
          </p:spPr>
        </p:pic>
        <p:pic>
          <p:nvPicPr>
            <p:cNvPr id="106" name="Imagem 105"/>
            <p:cNvPicPr>
              <a:picLocks noChangeAspect="1"/>
            </p:cNvPicPr>
            <p:nvPr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5784" y="1369364"/>
              <a:ext cx="149020" cy="137968"/>
            </a:xfrm>
            <a:prstGeom prst="rect">
              <a:avLst/>
            </a:prstGeom>
          </p:spPr>
        </p:pic>
        <p:pic>
          <p:nvPicPr>
            <p:cNvPr id="107" name="Imagem 106"/>
            <p:cNvPicPr>
              <a:picLocks noChangeAspect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0448" y="1369365"/>
              <a:ext cx="61570" cy="57004"/>
            </a:xfrm>
            <a:prstGeom prst="rect">
              <a:avLst/>
            </a:prstGeom>
          </p:spPr>
        </p:pic>
        <p:pic>
          <p:nvPicPr>
            <p:cNvPr id="108" name="Imagem 107"/>
            <p:cNvPicPr>
              <a:picLocks noChangeAspect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0468" y="1409847"/>
              <a:ext cx="87290" cy="80816"/>
            </a:xfrm>
            <a:prstGeom prst="rect">
              <a:avLst/>
            </a:prstGeom>
          </p:spPr>
        </p:pic>
        <p:pic>
          <p:nvPicPr>
            <p:cNvPr id="109" name="Imagem 108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2682" y="1450329"/>
              <a:ext cx="49381" cy="45719"/>
            </a:xfrm>
            <a:prstGeom prst="rect">
              <a:avLst/>
            </a:prstGeom>
          </p:spPr>
        </p:pic>
        <p:pic>
          <p:nvPicPr>
            <p:cNvPr id="110" name="Imagem 109"/>
            <p:cNvPicPr>
              <a:picLocks noChangeAspect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2830" y="1433658"/>
              <a:ext cx="61570" cy="57004"/>
            </a:xfrm>
            <a:prstGeom prst="rect">
              <a:avLst/>
            </a:prstGeom>
          </p:spPr>
        </p:pic>
        <p:pic>
          <p:nvPicPr>
            <p:cNvPr id="111" name="Imagem 110"/>
            <p:cNvPicPr>
              <a:picLocks noChangeAspect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7586" y="1436040"/>
              <a:ext cx="61570" cy="57004"/>
            </a:xfrm>
            <a:prstGeom prst="rect">
              <a:avLst/>
            </a:prstGeom>
          </p:spPr>
        </p:pic>
        <p:pic>
          <p:nvPicPr>
            <p:cNvPr id="112" name="Imagem 111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6914" y="1431279"/>
              <a:ext cx="49381" cy="45719"/>
            </a:xfrm>
            <a:prstGeom prst="rect">
              <a:avLst/>
            </a:prstGeom>
          </p:spPr>
        </p:pic>
        <p:pic>
          <p:nvPicPr>
            <p:cNvPr id="113" name="Imagem 112"/>
            <p:cNvPicPr>
              <a:picLocks noChangeAspect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2793" y="1438422"/>
              <a:ext cx="87290" cy="80816"/>
            </a:xfrm>
            <a:prstGeom prst="rect">
              <a:avLst/>
            </a:prstGeom>
          </p:spPr>
        </p:pic>
        <p:pic>
          <p:nvPicPr>
            <p:cNvPr id="114" name="Imagem 113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6071" y="3175000"/>
              <a:ext cx="339556" cy="314375"/>
            </a:xfrm>
            <a:prstGeom prst="rect">
              <a:avLst/>
            </a:prstGeom>
          </p:spPr>
        </p:pic>
        <p:pic>
          <p:nvPicPr>
            <p:cNvPr id="115" name="Imagem 11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6160" y="3985260"/>
              <a:ext cx="390997" cy="362001"/>
            </a:xfrm>
            <a:prstGeom prst="rect">
              <a:avLst/>
            </a:prstGeom>
          </p:spPr>
        </p:pic>
        <p:pic>
          <p:nvPicPr>
            <p:cNvPr id="116" name="Imagem 115"/>
            <p:cNvPicPr>
              <a:picLocks noChangeAspect="1"/>
            </p:cNvPicPr>
            <p:nvPr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9500" y="4038398"/>
              <a:ext cx="489980" cy="453644"/>
            </a:xfrm>
            <a:prstGeom prst="rect">
              <a:avLst/>
            </a:prstGeom>
          </p:spPr>
        </p:pic>
      </p:grpSp>
      <p:grpSp>
        <p:nvGrpSpPr>
          <p:cNvPr id="119" name="Agrupar 118"/>
          <p:cNvGrpSpPr/>
          <p:nvPr/>
        </p:nvGrpSpPr>
        <p:grpSpPr>
          <a:xfrm>
            <a:off x="9876808" y="5994021"/>
            <a:ext cx="420623" cy="495560"/>
            <a:chOff x="9025972" y="5994021"/>
            <a:chExt cx="420623" cy="495560"/>
          </a:xfrm>
        </p:grpSpPr>
        <p:sp>
          <p:nvSpPr>
            <p:cNvPr id="142" name="CaixaDeTexto 141"/>
            <p:cNvSpPr txBox="1"/>
            <p:nvPr/>
          </p:nvSpPr>
          <p:spPr>
            <a:xfrm>
              <a:off x="9036559" y="5994021"/>
              <a:ext cx="392867" cy="119323"/>
            </a:xfrm>
            <a:custGeom>
              <a:avLst/>
              <a:gdLst/>
              <a:ahLst/>
              <a:cxnLst/>
              <a:rect l="l" t="t" r="r" b="b"/>
              <a:pathLst>
                <a:path w="392867" h="119323">
                  <a:moveTo>
                    <a:pt x="327287" y="67345"/>
                  </a:moveTo>
                  <a:lnTo>
                    <a:pt x="327287" y="98779"/>
                  </a:lnTo>
                  <a:lnTo>
                    <a:pt x="349320" y="98779"/>
                  </a:lnTo>
                  <a:cubicBezTo>
                    <a:pt x="355186" y="98769"/>
                    <a:pt x="359695" y="97412"/>
                    <a:pt x="362848" y="94708"/>
                  </a:cubicBezTo>
                  <a:cubicBezTo>
                    <a:pt x="366000" y="92004"/>
                    <a:pt x="367593" y="88014"/>
                    <a:pt x="367627" y="82738"/>
                  </a:cubicBezTo>
                  <a:cubicBezTo>
                    <a:pt x="367519" y="77347"/>
                    <a:pt x="365629" y="73425"/>
                    <a:pt x="361957" y="70970"/>
                  </a:cubicBezTo>
                  <a:cubicBezTo>
                    <a:pt x="358284" y="68516"/>
                    <a:pt x="353478" y="67308"/>
                    <a:pt x="347538" y="67345"/>
                  </a:cubicBezTo>
                  <a:close/>
                  <a:moveTo>
                    <a:pt x="327287" y="20387"/>
                  </a:moveTo>
                  <a:lnTo>
                    <a:pt x="327287" y="49392"/>
                  </a:lnTo>
                  <a:lnTo>
                    <a:pt x="343812" y="49392"/>
                  </a:lnTo>
                  <a:cubicBezTo>
                    <a:pt x="350100" y="49503"/>
                    <a:pt x="354980" y="48470"/>
                    <a:pt x="358453" y="46293"/>
                  </a:cubicBezTo>
                  <a:cubicBezTo>
                    <a:pt x="361926" y="44115"/>
                    <a:pt x="363688" y="40125"/>
                    <a:pt x="363739" y="34322"/>
                  </a:cubicBezTo>
                  <a:cubicBezTo>
                    <a:pt x="363702" y="29417"/>
                    <a:pt x="362156" y="25859"/>
                    <a:pt x="359101" y="23648"/>
                  </a:cubicBezTo>
                  <a:cubicBezTo>
                    <a:pt x="356047" y="21437"/>
                    <a:pt x="351706" y="20350"/>
                    <a:pt x="346080" y="20387"/>
                  </a:cubicBezTo>
                  <a:close/>
                  <a:moveTo>
                    <a:pt x="303666" y="2433"/>
                  </a:moveTo>
                  <a:lnTo>
                    <a:pt x="351102" y="2433"/>
                  </a:lnTo>
                  <a:cubicBezTo>
                    <a:pt x="357589" y="2400"/>
                    <a:pt x="363708" y="3383"/>
                    <a:pt x="369460" y="5381"/>
                  </a:cubicBezTo>
                  <a:cubicBezTo>
                    <a:pt x="375212" y="7380"/>
                    <a:pt x="379902" y="10593"/>
                    <a:pt x="383530" y="15020"/>
                  </a:cubicBezTo>
                  <a:cubicBezTo>
                    <a:pt x="387158" y="19447"/>
                    <a:pt x="389030" y="25287"/>
                    <a:pt x="389145" y="32540"/>
                  </a:cubicBezTo>
                  <a:cubicBezTo>
                    <a:pt x="389061" y="38768"/>
                    <a:pt x="387045" y="44254"/>
                    <a:pt x="383098" y="49000"/>
                  </a:cubicBezTo>
                  <a:cubicBezTo>
                    <a:pt x="379151" y="53746"/>
                    <a:pt x="373778" y="56842"/>
                    <a:pt x="366979" y="58287"/>
                  </a:cubicBezTo>
                  <a:cubicBezTo>
                    <a:pt x="374853" y="59615"/>
                    <a:pt x="381109" y="62501"/>
                    <a:pt x="385748" y="66946"/>
                  </a:cubicBezTo>
                  <a:cubicBezTo>
                    <a:pt x="390386" y="71391"/>
                    <a:pt x="392759" y="77682"/>
                    <a:pt x="392867" y="85816"/>
                  </a:cubicBezTo>
                  <a:cubicBezTo>
                    <a:pt x="392772" y="93894"/>
                    <a:pt x="390930" y="100187"/>
                    <a:pt x="387341" y="104696"/>
                  </a:cubicBezTo>
                  <a:cubicBezTo>
                    <a:pt x="383752" y="109206"/>
                    <a:pt x="378985" y="112357"/>
                    <a:pt x="373038" y="114149"/>
                  </a:cubicBezTo>
                  <a:cubicBezTo>
                    <a:pt x="367092" y="115942"/>
                    <a:pt x="360536" y="116803"/>
                    <a:pt x="353370" y="116732"/>
                  </a:cubicBezTo>
                  <a:lnTo>
                    <a:pt x="303666" y="116732"/>
                  </a:lnTo>
                  <a:close/>
                  <a:moveTo>
                    <a:pt x="57607" y="2433"/>
                  </a:moveTo>
                  <a:lnTo>
                    <a:pt x="146969" y="2433"/>
                  </a:lnTo>
                  <a:lnTo>
                    <a:pt x="146969" y="20387"/>
                  </a:lnTo>
                  <a:lnTo>
                    <a:pt x="114099" y="20387"/>
                  </a:lnTo>
                  <a:lnTo>
                    <a:pt x="114099" y="116732"/>
                  </a:lnTo>
                  <a:lnTo>
                    <a:pt x="90478" y="116732"/>
                  </a:lnTo>
                  <a:lnTo>
                    <a:pt x="90478" y="20387"/>
                  </a:lnTo>
                  <a:lnTo>
                    <a:pt x="57607" y="20387"/>
                  </a:lnTo>
                  <a:close/>
                  <a:moveTo>
                    <a:pt x="0" y="2433"/>
                  </a:moveTo>
                  <a:lnTo>
                    <a:pt x="23621" y="2433"/>
                  </a:lnTo>
                  <a:lnTo>
                    <a:pt x="23621" y="116732"/>
                  </a:lnTo>
                  <a:lnTo>
                    <a:pt x="0" y="116732"/>
                  </a:lnTo>
                  <a:close/>
                  <a:moveTo>
                    <a:pt x="221303" y="4"/>
                  </a:moveTo>
                  <a:cubicBezTo>
                    <a:pt x="231440" y="-93"/>
                    <a:pt x="240555" y="1801"/>
                    <a:pt x="248648" y="5687"/>
                  </a:cubicBezTo>
                  <a:cubicBezTo>
                    <a:pt x="256740" y="9574"/>
                    <a:pt x="263710" y="16039"/>
                    <a:pt x="269556" y="25084"/>
                  </a:cubicBezTo>
                  <a:lnTo>
                    <a:pt x="247049" y="36421"/>
                  </a:lnTo>
                  <a:cubicBezTo>
                    <a:pt x="244495" y="31367"/>
                    <a:pt x="241020" y="27466"/>
                    <a:pt x="236625" y="24719"/>
                  </a:cubicBezTo>
                  <a:cubicBezTo>
                    <a:pt x="232229" y="21973"/>
                    <a:pt x="227176" y="20582"/>
                    <a:pt x="221464" y="20549"/>
                  </a:cubicBezTo>
                  <a:cubicBezTo>
                    <a:pt x="211037" y="20812"/>
                    <a:pt x="203271" y="24578"/>
                    <a:pt x="198167" y="31846"/>
                  </a:cubicBezTo>
                  <a:cubicBezTo>
                    <a:pt x="193063" y="39114"/>
                    <a:pt x="190520" y="48306"/>
                    <a:pt x="190537" y="59421"/>
                  </a:cubicBezTo>
                  <a:cubicBezTo>
                    <a:pt x="190546" y="66688"/>
                    <a:pt x="191751" y="73281"/>
                    <a:pt x="194153" y="79199"/>
                  </a:cubicBezTo>
                  <a:cubicBezTo>
                    <a:pt x="196555" y="85116"/>
                    <a:pt x="200099" y="89837"/>
                    <a:pt x="204786" y="93362"/>
                  </a:cubicBezTo>
                  <a:cubicBezTo>
                    <a:pt x="209473" y="96886"/>
                    <a:pt x="215248" y="98692"/>
                    <a:pt x="222112" y="98779"/>
                  </a:cubicBezTo>
                  <a:cubicBezTo>
                    <a:pt x="228181" y="98833"/>
                    <a:pt x="233410" y="97429"/>
                    <a:pt x="237799" y="94568"/>
                  </a:cubicBezTo>
                  <a:cubicBezTo>
                    <a:pt x="242187" y="91706"/>
                    <a:pt x="245757" y="87063"/>
                    <a:pt x="248506" y="80638"/>
                  </a:cubicBezTo>
                  <a:lnTo>
                    <a:pt x="270042" y="91652"/>
                  </a:lnTo>
                  <a:cubicBezTo>
                    <a:pt x="264759" y="100948"/>
                    <a:pt x="258161" y="107886"/>
                    <a:pt x="250247" y="112467"/>
                  </a:cubicBezTo>
                  <a:cubicBezTo>
                    <a:pt x="242333" y="117048"/>
                    <a:pt x="232739" y="119333"/>
                    <a:pt x="221464" y="119323"/>
                  </a:cubicBezTo>
                  <a:cubicBezTo>
                    <a:pt x="209203" y="119219"/>
                    <a:pt x="198918" y="116586"/>
                    <a:pt x="190610" y="111423"/>
                  </a:cubicBezTo>
                  <a:cubicBezTo>
                    <a:pt x="182302" y="106260"/>
                    <a:pt x="176036" y="99190"/>
                    <a:pt x="171811" y="90212"/>
                  </a:cubicBezTo>
                  <a:cubicBezTo>
                    <a:pt x="167587" y="81234"/>
                    <a:pt x="165469" y="70970"/>
                    <a:pt x="165459" y="59421"/>
                  </a:cubicBezTo>
                  <a:cubicBezTo>
                    <a:pt x="165488" y="47724"/>
                    <a:pt x="167676" y="37431"/>
                    <a:pt x="172021" y="28540"/>
                  </a:cubicBezTo>
                  <a:cubicBezTo>
                    <a:pt x="176366" y="19649"/>
                    <a:pt x="182691" y="12692"/>
                    <a:pt x="190994" y="7670"/>
                  </a:cubicBezTo>
                  <a:cubicBezTo>
                    <a:pt x="199297" y="2648"/>
                    <a:pt x="209399" y="93"/>
                    <a:pt x="221303" y="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>
                <a:defRPr sz="1300" b="1" spc="120" baseline="0">
                  <a:solidFill>
                    <a:schemeClr val="accent5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defRPr>
              </a:lvl1pPr>
            </a:lstStyle>
            <a:p>
              <a:pPr lvl="0"/>
              <a:endParaRPr lang="pt-BR" dirty="0"/>
            </a:p>
          </p:txBody>
        </p:sp>
        <p:sp>
          <p:nvSpPr>
            <p:cNvPr id="143" name="Forma Livre 142"/>
            <p:cNvSpPr/>
            <p:nvPr/>
          </p:nvSpPr>
          <p:spPr>
            <a:xfrm>
              <a:off x="9035603" y="6195047"/>
              <a:ext cx="398283" cy="84111"/>
            </a:xfrm>
            <a:custGeom>
              <a:avLst/>
              <a:gdLst/>
              <a:ahLst/>
              <a:cxnLst/>
              <a:rect l="l" t="t" r="r" b="b"/>
              <a:pathLst>
                <a:path w="398283" h="84111">
                  <a:moveTo>
                    <a:pt x="343648" y="9701"/>
                  </a:moveTo>
                  <a:lnTo>
                    <a:pt x="343648" y="74409"/>
                  </a:lnTo>
                  <a:lnTo>
                    <a:pt x="358169" y="74409"/>
                  </a:lnTo>
                  <a:cubicBezTo>
                    <a:pt x="369038" y="74243"/>
                    <a:pt x="376655" y="71204"/>
                    <a:pt x="381022" y="65292"/>
                  </a:cubicBezTo>
                  <a:cubicBezTo>
                    <a:pt x="385388" y="59380"/>
                    <a:pt x="387489" y="51597"/>
                    <a:pt x="387325" y="41941"/>
                  </a:cubicBezTo>
                  <a:cubicBezTo>
                    <a:pt x="387386" y="35785"/>
                    <a:pt x="386514" y="30289"/>
                    <a:pt x="384708" y="25453"/>
                  </a:cubicBezTo>
                  <a:cubicBezTo>
                    <a:pt x="382901" y="20617"/>
                    <a:pt x="379793" y="16798"/>
                    <a:pt x="375383" y="13995"/>
                  </a:cubicBezTo>
                  <a:cubicBezTo>
                    <a:pt x="370972" y="11192"/>
                    <a:pt x="364891" y="9761"/>
                    <a:pt x="357140" y="9701"/>
                  </a:cubicBezTo>
                  <a:close/>
                  <a:moveTo>
                    <a:pt x="333375" y="1715"/>
                  </a:moveTo>
                  <a:lnTo>
                    <a:pt x="357711" y="1715"/>
                  </a:lnTo>
                  <a:cubicBezTo>
                    <a:pt x="371557" y="1721"/>
                    <a:pt x="381792" y="5105"/>
                    <a:pt x="388416" y="11867"/>
                  </a:cubicBezTo>
                  <a:cubicBezTo>
                    <a:pt x="395040" y="18629"/>
                    <a:pt x="398329" y="28730"/>
                    <a:pt x="398283" y="42170"/>
                  </a:cubicBezTo>
                  <a:cubicBezTo>
                    <a:pt x="398274" y="55150"/>
                    <a:pt x="394981" y="65084"/>
                    <a:pt x="388402" y="71972"/>
                  </a:cubicBezTo>
                  <a:cubicBezTo>
                    <a:pt x="381823" y="78860"/>
                    <a:pt x="372012" y="82335"/>
                    <a:pt x="358969" y="82396"/>
                  </a:cubicBezTo>
                  <a:lnTo>
                    <a:pt x="333375" y="82396"/>
                  </a:lnTo>
                  <a:close/>
                  <a:moveTo>
                    <a:pt x="257175" y="1715"/>
                  </a:moveTo>
                  <a:lnTo>
                    <a:pt x="305167" y="1715"/>
                  </a:lnTo>
                  <a:lnTo>
                    <a:pt x="305167" y="9701"/>
                  </a:lnTo>
                  <a:lnTo>
                    <a:pt x="267448" y="9701"/>
                  </a:lnTo>
                  <a:lnTo>
                    <a:pt x="267448" y="36233"/>
                  </a:lnTo>
                  <a:lnTo>
                    <a:pt x="296823" y="36233"/>
                  </a:lnTo>
                  <a:lnTo>
                    <a:pt x="296823" y="44220"/>
                  </a:lnTo>
                  <a:lnTo>
                    <a:pt x="267448" y="44220"/>
                  </a:lnTo>
                  <a:lnTo>
                    <a:pt x="267448" y="74409"/>
                  </a:lnTo>
                  <a:lnTo>
                    <a:pt x="306767" y="74409"/>
                  </a:lnTo>
                  <a:lnTo>
                    <a:pt x="306767" y="82396"/>
                  </a:lnTo>
                  <a:lnTo>
                    <a:pt x="257175" y="82396"/>
                  </a:lnTo>
                  <a:close/>
                  <a:moveTo>
                    <a:pt x="175489" y="1715"/>
                  </a:moveTo>
                  <a:lnTo>
                    <a:pt x="233425" y="1715"/>
                  </a:lnTo>
                  <a:lnTo>
                    <a:pt x="233425" y="9701"/>
                  </a:lnTo>
                  <a:lnTo>
                    <a:pt x="209650" y="9701"/>
                  </a:lnTo>
                  <a:lnTo>
                    <a:pt x="209650" y="82396"/>
                  </a:lnTo>
                  <a:lnTo>
                    <a:pt x="199377" y="82396"/>
                  </a:lnTo>
                  <a:lnTo>
                    <a:pt x="199377" y="9701"/>
                  </a:lnTo>
                  <a:lnTo>
                    <a:pt x="175489" y="9701"/>
                  </a:lnTo>
                  <a:close/>
                  <a:moveTo>
                    <a:pt x="67704" y="1715"/>
                  </a:moveTo>
                  <a:lnTo>
                    <a:pt x="77977" y="1715"/>
                  </a:lnTo>
                  <a:lnTo>
                    <a:pt x="77977" y="82396"/>
                  </a:lnTo>
                  <a:lnTo>
                    <a:pt x="67704" y="82396"/>
                  </a:lnTo>
                  <a:close/>
                  <a:moveTo>
                    <a:pt x="0" y="1715"/>
                  </a:moveTo>
                  <a:lnTo>
                    <a:pt x="10273" y="1715"/>
                  </a:lnTo>
                  <a:lnTo>
                    <a:pt x="10273" y="74409"/>
                  </a:lnTo>
                  <a:lnTo>
                    <a:pt x="48792" y="74409"/>
                  </a:lnTo>
                  <a:lnTo>
                    <a:pt x="48792" y="82396"/>
                  </a:lnTo>
                  <a:lnTo>
                    <a:pt x="0" y="82396"/>
                  </a:lnTo>
                  <a:close/>
                  <a:moveTo>
                    <a:pt x="131628" y="0"/>
                  </a:moveTo>
                  <a:cubicBezTo>
                    <a:pt x="137215" y="12"/>
                    <a:pt x="142364" y="958"/>
                    <a:pt x="147075" y="2839"/>
                  </a:cubicBezTo>
                  <a:cubicBezTo>
                    <a:pt x="151787" y="4720"/>
                    <a:pt x="155818" y="7465"/>
                    <a:pt x="159169" y="11073"/>
                  </a:cubicBezTo>
                  <a:lnTo>
                    <a:pt x="152206" y="17590"/>
                  </a:lnTo>
                  <a:cubicBezTo>
                    <a:pt x="149774" y="14863"/>
                    <a:pt x="146783" y="12686"/>
                    <a:pt x="143234" y="11059"/>
                  </a:cubicBezTo>
                  <a:cubicBezTo>
                    <a:pt x="139685" y="9432"/>
                    <a:pt x="135778" y="8599"/>
                    <a:pt x="131514" y="8558"/>
                  </a:cubicBezTo>
                  <a:cubicBezTo>
                    <a:pt x="126571" y="8558"/>
                    <a:pt x="122592" y="9616"/>
                    <a:pt x="119579" y="11731"/>
                  </a:cubicBezTo>
                  <a:cubicBezTo>
                    <a:pt x="116565" y="13846"/>
                    <a:pt x="115017" y="17018"/>
                    <a:pt x="114934" y="21248"/>
                  </a:cubicBezTo>
                  <a:cubicBezTo>
                    <a:pt x="115034" y="25381"/>
                    <a:pt x="116835" y="28548"/>
                    <a:pt x="120336" y="30752"/>
                  </a:cubicBezTo>
                  <a:cubicBezTo>
                    <a:pt x="123838" y="32955"/>
                    <a:pt x="128441" y="34779"/>
                    <a:pt x="134144" y="36225"/>
                  </a:cubicBezTo>
                  <a:cubicBezTo>
                    <a:pt x="142637" y="38385"/>
                    <a:pt x="149113" y="41210"/>
                    <a:pt x="153573" y="44699"/>
                  </a:cubicBezTo>
                  <a:cubicBezTo>
                    <a:pt x="158032" y="48188"/>
                    <a:pt x="160278" y="53100"/>
                    <a:pt x="160311" y="59433"/>
                  </a:cubicBezTo>
                  <a:cubicBezTo>
                    <a:pt x="160249" y="64668"/>
                    <a:pt x="158926" y="69121"/>
                    <a:pt x="156343" y="72792"/>
                  </a:cubicBezTo>
                  <a:cubicBezTo>
                    <a:pt x="153760" y="76462"/>
                    <a:pt x="150287" y="79263"/>
                    <a:pt x="145925" y="81193"/>
                  </a:cubicBezTo>
                  <a:cubicBezTo>
                    <a:pt x="141563" y="83123"/>
                    <a:pt x="136683" y="84096"/>
                    <a:pt x="131285" y="84111"/>
                  </a:cubicBezTo>
                  <a:cubicBezTo>
                    <a:pt x="124034" y="84085"/>
                    <a:pt x="117872" y="82910"/>
                    <a:pt x="112798" y="80586"/>
                  </a:cubicBezTo>
                  <a:cubicBezTo>
                    <a:pt x="107723" y="78263"/>
                    <a:pt x="103678" y="74946"/>
                    <a:pt x="100660" y="70636"/>
                  </a:cubicBezTo>
                  <a:lnTo>
                    <a:pt x="107628" y="63777"/>
                  </a:lnTo>
                  <a:cubicBezTo>
                    <a:pt x="109985" y="67319"/>
                    <a:pt x="113179" y="70153"/>
                    <a:pt x="117210" y="72280"/>
                  </a:cubicBezTo>
                  <a:cubicBezTo>
                    <a:pt x="121240" y="74407"/>
                    <a:pt x="126009" y="75498"/>
                    <a:pt x="131514" y="75552"/>
                  </a:cubicBezTo>
                  <a:cubicBezTo>
                    <a:pt x="136879" y="75507"/>
                    <a:pt x="141243" y="74169"/>
                    <a:pt x="144607" y="71537"/>
                  </a:cubicBezTo>
                  <a:cubicBezTo>
                    <a:pt x="147970" y="68905"/>
                    <a:pt x="149705" y="65251"/>
                    <a:pt x="149809" y="60576"/>
                  </a:cubicBezTo>
                  <a:cubicBezTo>
                    <a:pt x="149678" y="55946"/>
                    <a:pt x="147625" y="52602"/>
                    <a:pt x="143649" y="50544"/>
                  </a:cubicBezTo>
                  <a:cubicBezTo>
                    <a:pt x="139673" y="48486"/>
                    <a:pt x="134561" y="46685"/>
                    <a:pt x="128312" y="45142"/>
                  </a:cubicBezTo>
                  <a:cubicBezTo>
                    <a:pt x="121260" y="43322"/>
                    <a:pt x="115531" y="40702"/>
                    <a:pt x="111127" y="37282"/>
                  </a:cubicBezTo>
                  <a:cubicBezTo>
                    <a:pt x="106723" y="33862"/>
                    <a:pt x="104453" y="28899"/>
                    <a:pt x="104318" y="22392"/>
                  </a:cubicBezTo>
                  <a:cubicBezTo>
                    <a:pt x="104455" y="15507"/>
                    <a:pt x="107006" y="10074"/>
                    <a:pt x="111970" y="6094"/>
                  </a:cubicBezTo>
                  <a:cubicBezTo>
                    <a:pt x="116934" y="2114"/>
                    <a:pt x="123487" y="83"/>
                    <a:pt x="13162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pt-BR" sz="1300" b="1" spc="120" baseline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44" name="Forma Livre 143"/>
            <p:cNvSpPr/>
            <p:nvPr/>
          </p:nvSpPr>
          <p:spPr>
            <a:xfrm>
              <a:off x="9035425" y="6370261"/>
              <a:ext cx="401716" cy="119320"/>
            </a:xfrm>
            <a:custGeom>
              <a:avLst/>
              <a:gdLst/>
              <a:ahLst/>
              <a:cxnLst/>
              <a:rect l="l" t="t" r="r" b="b"/>
              <a:pathLst>
                <a:path w="401716" h="119320">
                  <a:moveTo>
                    <a:pt x="323850" y="2430"/>
                  </a:moveTo>
                  <a:lnTo>
                    <a:pt x="399935" y="2430"/>
                  </a:lnTo>
                  <a:lnTo>
                    <a:pt x="399935" y="20384"/>
                  </a:lnTo>
                  <a:lnTo>
                    <a:pt x="347471" y="20384"/>
                  </a:lnTo>
                  <a:lnTo>
                    <a:pt x="347471" y="47769"/>
                  </a:lnTo>
                  <a:lnTo>
                    <a:pt x="385362" y="47769"/>
                  </a:lnTo>
                  <a:lnTo>
                    <a:pt x="385362" y="65561"/>
                  </a:lnTo>
                  <a:lnTo>
                    <a:pt x="347471" y="65561"/>
                  </a:lnTo>
                  <a:lnTo>
                    <a:pt x="347471" y="98776"/>
                  </a:lnTo>
                  <a:lnTo>
                    <a:pt x="401716" y="98776"/>
                  </a:lnTo>
                  <a:lnTo>
                    <a:pt x="401716" y="116729"/>
                  </a:lnTo>
                  <a:lnTo>
                    <a:pt x="323850" y="116729"/>
                  </a:lnTo>
                  <a:close/>
                  <a:moveTo>
                    <a:pt x="106204" y="2430"/>
                  </a:moveTo>
                  <a:lnTo>
                    <a:pt x="133246" y="2430"/>
                  </a:lnTo>
                  <a:lnTo>
                    <a:pt x="158981" y="47600"/>
                  </a:lnTo>
                  <a:lnTo>
                    <a:pt x="185203" y="2430"/>
                  </a:lnTo>
                  <a:lnTo>
                    <a:pt x="212083" y="2430"/>
                  </a:lnTo>
                  <a:lnTo>
                    <a:pt x="170468" y="65570"/>
                  </a:lnTo>
                  <a:lnTo>
                    <a:pt x="170468" y="116729"/>
                  </a:lnTo>
                  <a:lnTo>
                    <a:pt x="146847" y="116729"/>
                  </a:lnTo>
                  <a:lnTo>
                    <a:pt x="146847" y="65570"/>
                  </a:lnTo>
                  <a:close/>
                  <a:moveTo>
                    <a:pt x="0" y="2430"/>
                  </a:moveTo>
                  <a:lnTo>
                    <a:pt x="26214" y="2430"/>
                  </a:lnTo>
                  <a:cubicBezTo>
                    <a:pt x="35211" y="18664"/>
                    <a:pt x="43419" y="33390"/>
                    <a:pt x="50837" y="46608"/>
                  </a:cubicBezTo>
                  <a:cubicBezTo>
                    <a:pt x="58255" y="59826"/>
                    <a:pt x="64842" y="72245"/>
                    <a:pt x="70599" y="83864"/>
                  </a:cubicBezTo>
                  <a:cubicBezTo>
                    <a:pt x="70134" y="69827"/>
                    <a:pt x="69851" y="56093"/>
                    <a:pt x="69749" y="42662"/>
                  </a:cubicBezTo>
                  <a:cubicBezTo>
                    <a:pt x="69648" y="29231"/>
                    <a:pt x="69608" y="15821"/>
                    <a:pt x="69628" y="2430"/>
                  </a:cubicBezTo>
                  <a:lnTo>
                    <a:pt x="91792" y="2430"/>
                  </a:lnTo>
                  <a:lnTo>
                    <a:pt x="91792" y="116729"/>
                  </a:lnTo>
                  <a:lnTo>
                    <a:pt x="65578" y="116729"/>
                  </a:lnTo>
                  <a:cubicBezTo>
                    <a:pt x="60363" y="107422"/>
                    <a:pt x="54955" y="97758"/>
                    <a:pt x="49355" y="87738"/>
                  </a:cubicBezTo>
                  <a:cubicBezTo>
                    <a:pt x="43755" y="77717"/>
                    <a:pt x="38479" y="68138"/>
                    <a:pt x="33528" y="58998"/>
                  </a:cubicBezTo>
                  <a:cubicBezTo>
                    <a:pt x="28576" y="49859"/>
                    <a:pt x="24465" y="41958"/>
                    <a:pt x="21193" y="35296"/>
                  </a:cubicBezTo>
                  <a:cubicBezTo>
                    <a:pt x="21709" y="49475"/>
                    <a:pt x="21972" y="63250"/>
                    <a:pt x="21982" y="76620"/>
                  </a:cubicBezTo>
                  <a:cubicBezTo>
                    <a:pt x="21992" y="89989"/>
                    <a:pt x="22053" y="103359"/>
                    <a:pt x="22164" y="116729"/>
                  </a:cubicBezTo>
                  <a:lnTo>
                    <a:pt x="0" y="116729"/>
                  </a:lnTo>
                  <a:close/>
                  <a:moveTo>
                    <a:pt x="260518" y="1"/>
                  </a:moveTo>
                  <a:cubicBezTo>
                    <a:pt x="269050" y="-5"/>
                    <a:pt x="277052" y="1424"/>
                    <a:pt x="284525" y="4288"/>
                  </a:cubicBezTo>
                  <a:cubicBezTo>
                    <a:pt x="291998" y="7153"/>
                    <a:pt x="298295" y="11493"/>
                    <a:pt x="303418" y="17310"/>
                  </a:cubicBezTo>
                  <a:lnTo>
                    <a:pt x="287725" y="32045"/>
                  </a:lnTo>
                  <a:cubicBezTo>
                    <a:pt x="284540" y="28408"/>
                    <a:pt x="280553" y="25438"/>
                    <a:pt x="275765" y="23137"/>
                  </a:cubicBezTo>
                  <a:cubicBezTo>
                    <a:pt x="270977" y="20836"/>
                    <a:pt x="265571" y="19648"/>
                    <a:pt x="259546" y="19574"/>
                  </a:cubicBezTo>
                  <a:cubicBezTo>
                    <a:pt x="253430" y="19642"/>
                    <a:pt x="248974" y="20802"/>
                    <a:pt x="246180" y="23056"/>
                  </a:cubicBezTo>
                  <a:cubicBezTo>
                    <a:pt x="243385" y="25310"/>
                    <a:pt x="242008" y="28252"/>
                    <a:pt x="242048" y="31883"/>
                  </a:cubicBezTo>
                  <a:cubicBezTo>
                    <a:pt x="242028" y="35699"/>
                    <a:pt x="243851" y="38838"/>
                    <a:pt x="247516" y="41297"/>
                  </a:cubicBezTo>
                  <a:cubicBezTo>
                    <a:pt x="251182" y="43757"/>
                    <a:pt x="256812" y="45964"/>
                    <a:pt x="264406" y="47918"/>
                  </a:cubicBezTo>
                  <a:cubicBezTo>
                    <a:pt x="279021" y="51680"/>
                    <a:pt x="289335" y="56303"/>
                    <a:pt x="295347" y="61786"/>
                  </a:cubicBezTo>
                  <a:cubicBezTo>
                    <a:pt x="301359" y="67270"/>
                    <a:pt x="304265" y="74362"/>
                    <a:pt x="304066" y="83065"/>
                  </a:cubicBezTo>
                  <a:cubicBezTo>
                    <a:pt x="303963" y="90903"/>
                    <a:pt x="301903" y="97514"/>
                    <a:pt x="297887" y="102898"/>
                  </a:cubicBezTo>
                  <a:cubicBezTo>
                    <a:pt x="293870" y="108282"/>
                    <a:pt x="288513" y="112362"/>
                    <a:pt x="281814" y="115137"/>
                  </a:cubicBezTo>
                  <a:cubicBezTo>
                    <a:pt x="275116" y="117913"/>
                    <a:pt x="267693" y="119307"/>
                    <a:pt x="259546" y="119320"/>
                  </a:cubicBezTo>
                  <a:cubicBezTo>
                    <a:pt x="248044" y="119212"/>
                    <a:pt x="238417" y="117487"/>
                    <a:pt x="230665" y="114144"/>
                  </a:cubicBezTo>
                  <a:cubicBezTo>
                    <a:pt x="222913" y="110801"/>
                    <a:pt x="217053" y="106487"/>
                    <a:pt x="213084" y="101203"/>
                  </a:cubicBezTo>
                  <a:lnTo>
                    <a:pt x="228943" y="85170"/>
                  </a:lnTo>
                  <a:cubicBezTo>
                    <a:pt x="231437" y="88889"/>
                    <a:pt x="235389" y="92182"/>
                    <a:pt x="240799" y="95050"/>
                  </a:cubicBezTo>
                  <a:cubicBezTo>
                    <a:pt x="246209" y="97918"/>
                    <a:pt x="252674" y="99430"/>
                    <a:pt x="260194" y="99585"/>
                  </a:cubicBezTo>
                  <a:cubicBezTo>
                    <a:pt x="266114" y="99545"/>
                    <a:pt x="270839" y="98330"/>
                    <a:pt x="274370" y="95941"/>
                  </a:cubicBezTo>
                  <a:cubicBezTo>
                    <a:pt x="277900" y="93552"/>
                    <a:pt x="279710" y="90232"/>
                    <a:pt x="279797" y="85980"/>
                  </a:cubicBezTo>
                  <a:cubicBezTo>
                    <a:pt x="279703" y="81060"/>
                    <a:pt x="277057" y="77376"/>
                    <a:pt x="271859" y="74926"/>
                  </a:cubicBezTo>
                  <a:cubicBezTo>
                    <a:pt x="266661" y="72476"/>
                    <a:pt x="259478" y="70168"/>
                    <a:pt x="250311" y="68002"/>
                  </a:cubicBezTo>
                  <a:cubicBezTo>
                    <a:pt x="239523" y="65235"/>
                    <a:pt x="231356" y="61213"/>
                    <a:pt x="225810" y="55935"/>
                  </a:cubicBezTo>
                  <a:cubicBezTo>
                    <a:pt x="220264" y="50658"/>
                    <a:pt x="217479" y="43720"/>
                    <a:pt x="217456" y="35122"/>
                  </a:cubicBezTo>
                  <a:cubicBezTo>
                    <a:pt x="217550" y="25087"/>
                    <a:pt x="221326" y="16785"/>
                    <a:pt x="228785" y="10215"/>
                  </a:cubicBezTo>
                  <a:cubicBezTo>
                    <a:pt x="236243" y="3645"/>
                    <a:pt x="246821" y="240"/>
                    <a:pt x="26051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pt-BR" sz="1300" b="1" spc="120" baseline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8" name="Retângulo 117"/>
            <p:cNvSpPr/>
            <p:nvPr/>
          </p:nvSpPr>
          <p:spPr>
            <a:xfrm>
              <a:off x="9025972" y="6150215"/>
              <a:ext cx="420623" cy="72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5" name="Retângulo 144"/>
            <p:cNvSpPr/>
            <p:nvPr/>
          </p:nvSpPr>
          <p:spPr>
            <a:xfrm>
              <a:off x="9025972" y="6316903"/>
              <a:ext cx="420623" cy="72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48" name="Agrupar 147"/>
          <p:cNvGrpSpPr/>
          <p:nvPr/>
        </p:nvGrpSpPr>
        <p:grpSpPr>
          <a:xfrm>
            <a:off x="1860524" y="3425409"/>
            <a:ext cx="298866" cy="298866"/>
            <a:chOff x="2493936" y="4897021"/>
            <a:chExt cx="310774" cy="310774"/>
          </a:xfrm>
        </p:grpSpPr>
        <p:sp>
          <p:nvSpPr>
            <p:cNvPr id="149" name="Retângulo Arredondado 148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0" name="Retângulo Arredondado 149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51" name="Agrupar 150"/>
          <p:cNvGrpSpPr/>
          <p:nvPr/>
        </p:nvGrpSpPr>
        <p:grpSpPr>
          <a:xfrm>
            <a:off x="2322487" y="4158834"/>
            <a:ext cx="298866" cy="298866"/>
            <a:chOff x="2493936" y="4897021"/>
            <a:chExt cx="310774" cy="310774"/>
          </a:xfrm>
        </p:grpSpPr>
        <p:sp>
          <p:nvSpPr>
            <p:cNvPr id="152" name="Retângulo Arredondado 151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3" name="Retângulo Arredondado 152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54" name="Agrupar 153"/>
          <p:cNvGrpSpPr/>
          <p:nvPr/>
        </p:nvGrpSpPr>
        <p:grpSpPr>
          <a:xfrm>
            <a:off x="2503462" y="5073234"/>
            <a:ext cx="298866" cy="298866"/>
            <a:chOff x="2493936" y="4897021"/>
            <a:chExt cx="310774" cy="310774"/>
          </a:xfrm>
        </p:grpSpPr>
        <p:sp>
          <p:nvSpPr>
            <p:cNvPr id="155" name="Retângulo Arredondado 154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6" name="Retângulo Arredondado 155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7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L" altLang="pt-BR" sz="1001" b="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</a:rPr>
              <a:t>Información</a:t>
            </a:r>
            <a:r>
              <a:rPr lang="es-CL" altLang="pt-BR" sz="1001" b="0" baseline="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</a:rPr>
              <a:t> Restringida</a:t>
            </a:r>
            <a:endParaRPr lang="es-CL" altLang="pt-BR" sz="1001" b="0" noProof="0" dirty="0">
              <a:solidFill>
                <a:schemeClr val="accent6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30" name="Forma Livre 129"/>
          <p:cNvSpPr/>
          <p:nvPr/>
        </p:nvSpPr>
        <p:spPr>
          <a:xfrm>
            <a:off x="336551" y="443767"/>
            <a:ext cx="2840506" cy="434591"/>
          </a:xfrm>
          <a:custGeom>
            <a:avLst/>
            <a:gdLst/>
            <a:ahLst/>
            <a:cxnLst/>
            <a:rect l="l" t="t" r="r" b="b"/>
            <a:pathLst>
              <a:path w="2502989" h="382952">
                <a:moveTo>
                  <a:pt x="374932" y="209702"/>
                </a:moveTo>
                <a:cubicBezTo>
                  <a:pt x="358276" y="209702"/>
                  <a:pt x="345374" y="212364"/>
                  <a:pt x="336227" y="217689"/>
                </a:cubicBezTo>
                <a:cubicBezTo>
                  <a:pt x="327080" y="223013"/>
                  <a:pt x="322506" y="230590"/>
                  <a:pt x="322506" y="240420"/>
                </a:cubicBezTo>
                <a:cubicBezTo>
                  <a:pt x="322506" y="248885"/>
                  <a:pt x="325237" y="255574"/>
                  <a:pt x="330698" y="260489"/>
                </a:cubicBezTo>
                <a:cubicBezTo>
                  <a:pt x="336159" y="265404"/>
                  <a:pt x="343395" y="267862"/>
                  <a:pt x="352405" y="267862"/>
                </a:cubicBezTo>
                <a:cubicBezTo>
                  <a:pt x="363054" y="267862"/>
                  <a:pt x="372065" y="264039"/>
                  <a:pt x="379437" y="256394"/>
                </a:cubicBezTo>
                <a:cubicBezTo>
                  <a:pt x="386810" y="248748"/>
                  <a:pt x="390496" y="239328"/>
                  <a:pt x="390496" y="228133"/>
                </a:cubicBezTo>
                <a:lnTo>
                  <a:pt x="390496" y="210112"/>
                </a:lnTo>
                <a:cubicBezTo>
                  <a:pt x="388038" y="209839"/>
                  <a:pt x="385513" y="209702"/>
                  <a:pt x="382919" y="209702"/>
                </a:cubicBezTo>
                <a:cubicBezTo>
                  <a:pt x="380325" y="209702"/>
                  <a:pt x="377663" y="209702"/>
                  <a:pt x="374932" y="209702"/>
                </a:cubicBezTo>
                <a:close/>
                <a:moveTo>
                  <a:pt x="2458345" y="198234"/>
                </a:moveTo>
                <a:cubicBezTo>
                  <a:pt x="2429948" y="198234"/>
                  <a:pt x="2408309" y="202466"/>
                  <a:pt x="2393427" y="210931"/>
                </a:cubicBezTo>
                <a:cubicBezTo>
                  <a:pt x="2378546" y="219395"/>
                  <a:pt x="2371105" y="231819"/>
                  <a:pt x="2371105" y="248202"/>
                </a:cubicBezTo>
                <a:cubicBezTo>
                  <a:pt x="2371105" y="261035"/>
                  <a:pt x="2375269" y="271343"/>
                  <a:pt x="2383597" y="279125"/>
                </a:cubicBezTo>
                <a:cubicBezTo>
                  <a:pt x="2391926" y="286907"/>
                  <a:pt x="2403052" y="290798"/>
                  <a:pt x="2416978" y="290798"/>
                </a:cubicBezTo>
                <a:cubicBezTo>
                  <a:pt x="2428719" y="290798"/>
                  <a:pt x="2439368" y="287794"/>
                  <a:pt x="2448925" y="281787"/>
                </a:cubicBezTo>
                <a:cubicBezTo>
                  <a:pt x="2458481" y="275780"/>
                  <a:pt x="2465922" y="268135"/>
                  <a:pt x="2471247" y="258851"/>
                </a:cubicBezTo>
                <a:cubicBezTo>
                  <a:pt x="2476571" y="249567"/>
                  <a:pt x="2479233" y="239601"/>
                  <a:pt x="2479233" y="228952"/>
                </a:cubicBezTo>
                <a:lnTo>
                  <a:pt x="2479233" y="198644"/>
                </a:lnTo>
                <a:cubicBezTo>
                  <a:pt x="2474318" y="198371"/>
                  <a:pt x="2467356" y="198234"/>
                  <a:pt x="2458345" y="198234"/>
                </a:cubicBezTo>
                <a:close/>
                <a:moveTo>
                  <a:pt x="1858270" y="198234"/>
                </a:moveTo>
                <a:cubicBezTo>
                  <a:pt x="1829873" y="198234"/>
                  <a:pt x="1808233" y="202466"/>
                  <a:pt x="1793352" y="210931"/>
                </a:cubicBezTo>
                <a:cubicBezTo>
                  <a:pt x="1778471" y="219395"/>
                  <a:pt x="1771030" y="231819"/>
                  <a:pt x="1771030" y="248202"/>
                </a:cubicBezTo>
                <a:cubicBezTo>
                  <a:pt x="1771030" y="261035"/>
                  <a:pt x="1775194" y="271343"/>
                  <a:pt x="1783522" y="279125"/>
                </a:cubicBezTo>
                <a:cubicBezTo>
                  <a:pt x="1791850" y="286907"/>
                  <a:pt x="1802977" y="290798"/>
                  <a:pt x="1816903" y="290798"/>
                </a:cubicBezTo>
                <a:cubicBezTo>
                  <a:pt x="1828644" y="290798"/>
                  <a:pt x="1839293" y="287794"/>
                  <a:pt x="1848850" y="281787"/>
                </a:cubicBezTo>
                <a:cubicBezTo>
                  <a:pt x="1858406" y="275780"/>
                  <a:pt x="1865847" y="268135"/>
                  <a:pt x="1871171" y="258851"/>
                </a:cubicBezTo>
                <a:cubicBezTo>
                  <a:pt x="1876496" y="249567"/>
                  <a:pt x="1879158" y="239601"/>
                  <a:pt x="1879158" y="228952"/>
                </a:cubicBezTo>
                <a:lnTo>
                  <a:pt x="1879158" y="198644"/>
                </a:lnTo>
                <a:cubicBezTo>
                  <a:pt x="1874243" y="198371"/>
                  <a:pt x="1867281" y="198234"/>
                  <a:pt x="1858270" y="198234"/>
                </a:cubicBezTo>
                <a:close/>
                <a:moveTo>
                  <a:pt x="1045578" y="111404"/>
                </a:moveTo>
                <a:cubicBezTo>
                  <a:pt x="1024826" y="111404"/>
                  <a:pt x="1008306" y="119391"/>
                  <a:pt x="996019" y="135364"/>
                </a:cubicBezTo>
                <a:cubicBezTo>
                  <a:pt x="983732" y="151338"/>
                  <a:pt x="977588" y="172977"/>
                  <a:pt x="977588" y="200282"/>
                </a:cubicBezTo>
                <a:cubicBezTo>
                  <a:pt x="977588" y="227041"/>
                  <a:pt x="983800" y="248543"/>
                  <a:pt x="996224" y="264790"/>
                </a:cubicBezTo>
                <a:cubicBezTo>
                  <a:pt x="1008648" y="281036"/>
                  <a:pt x="1025236" y="289160"/>
                  <a:pt x="1045987" y="289160"/>
                </a:cubicBezTo>
                <a:cubicBezTo>
                  <a:pt x="1066739" y="289160"/>
                  <a:pt x="1083259" y="281105"/>
                  <a:pt x="1095546" y="264995"/>
                </a:cubicBezTo>
                <a:cubicBezTo>
                  <a:pt x="1107833" y="248885"/>
                  <a:pt x="1113977" y="227314"/>
                  <a:pt x="1113977" y="200282"/>
                </a:cubicBezTo>
                <a:cubicBezTo>
                  <a:pt x="1113977" y="173523"/>
                  <a:pt x="1107765" y="152020"/>
                  <a:pt x="1095341" y="135774"/>
                </a:cubicBezTo>
                <a:cubicBezTo>
                  <a:pt x="1082917" y="119527"/>
                  <a:pt x="1066330" y="111404"/>
                  <a:pt x="1045578" y="111404"/>
                </a:cubicBezTo>
                <a:close/>
                <a:moveTo>
                  <a:pt x="1624860" y="110994"/>
                </a:moveTo>
                <a:cubicBezTo>
                  <a:pt x="1605473" y="110994"/>
                  <a:pt x="1589909" y="119118"/>
                  <a:pt x="1578168" y="135364"/>
                </a:cubicBezTo>
                <a:cubicBezTo>
                  <a:pt x="1566427" y="151611"/>
                  <a:pt x="1560556" y="172977"/>
                  <a:pt x="1560556" y="199463"/>
                </a:cubicBezTo>
                <a:cubicBezTo>
                  <a:pt x="1560556" y="217757"/>
                  <a:pt x="1563355" y="233730"/>
                  <a:pt x="1568953" y="247383"/>
                </a:cubicBezTo>
                <a:cubicBezTo>
                  <a:pt x="1574550" y="261035"/>
                  <a:pt x="1582196" y="271480"/>
                  <a:pt x="1591889" y="278715"/>
                </a:cubicBezTo>
                <a:cubicBezTo>
                  <a:pt x="1601582" y="285951"/>
                  <a:pt x="1612572" y="289569"/>
                  <a:pt x="1624860" y="289569"/>
                </a:cubicBezTo>
                <a:cubicBezTo>
                  <a:pt x="1645065" y="289569"/>
                  <a:pt x="1661107" y="281514"/>
                  <a:pt x="1672985" y="265404"/>
                </a:cubicBezTo>
                <a:cubicBezTo>
                  <a:pt x="1684862" y="249294"/>
                  <a:pt x="1690801" y="227450"/>
                  <a:pt x="1690801" y="199872"/>
                </a:cubicBezTo>
                <a:cubicBezTo>
                  <a:pt x="1690801" y="172567"/>
                  <a:pt x="1684862" y="150928"/>
                  <a:pt x="1672985" y="134955"/>
                </a:cubicBezTo>
                <a:cubicBezTo>
                  <a:pt x="1661107" y="118981"/>
                  <a:pt x="1645065" y="110994"/>
                  <a:pt x="1624860" y="110994"/>
                </a:cubicBezTo>
                <a:close/>
                <a:moveTo>
                  <a:pt x="1405785" y="110994"/>
                </a:moveTo>
                <a:cubicBezTo>
                  <a:pt x="1386398" y="110994"/>
                  <a:pt x="1370834" y="119118"/>
                  <a:pt x="1359093" y="135364"/>
                </a:cubicBezTo>
                <a:cubicBezTo>
                  <a:pt x="1347352" y="151611"/>
                  <a:pt x="1341481" y="172977"/>
                  <a:pt x="1341481" y="199463"/>
                </a:cubicBezTo>
                <a:cubicBezTo>
                  <a:pt x="1341481" y="217757"/>
                  <a:pt x="1344280" y="233730"/>
                  <a:pt x="1349878" y="247383"/>
                </a:cubicBezTo>
                <a:cubicBezTo>
                  <a:pt x="1355475" y="261035"/>
                  <a:pt x="1363121" y="271480"/>
                  <a:pt x="1372814" y="278715"/>
                </a:cubicBezTo>
                <a:cubicBezTo>
                  <a:pt x="1382507" y="285951"/>
                  <a:pt x="1393497" y="289569"/>
                  <a:pt x="1405785" y="289569"/>
                </a:cubicBezTo>
                <a:cubicBezTo>
                  <a:pt x="1425990" y="289569"/>
                  <a:pt x="1442032" y="281514"/>
                  <a:pt x="1453910" y="265404"/>
                </a:cubicBezTo>
                <a:cubicBezTo>
                  <a:pt x="1465787" y="249294"/>
                  <a:pt x="1471726" y="227450"/>
                  <a:pt x="1471726" y="199872"/>
                </a:cubicBezTo>
                <a:cubicBezTo>
                  <a:pt x="1471726" y="172567"/>
                  <a:pt x="1465787" y="150928"/>
                  <a:pt x="1453910" y="134955"/>
                </a:cubicBezTo>
                <a:cubicBezTo>
                  <a:pt x="1442032" y="118981"/>
                  <a:pt x="1425990" y="110994"/>
                  <a:pt x="1405785" y="110994"/>
                </a:cubicBezTo>
                <a:close/>
                <a:moveTo>
                  <a:pt x="1260967" y="91335"/>
                </a:moveTo>
                <a:cubicBezTo>
                  <a:pt x="1268066" y="91335"/>
                  <a:pt x="1274346" y="92291"/>
                  <a:pt x="1279807" y="94202"/>
                </a:cubicBezTo>
                <a:lnTo>
                  <a:pt x="1279807" y="115909"/>
                </a:lnTo>
                <a:cubicBezTo>
                  <a:pt x="1274346" y="113998"/>
                  <a:pt x="1267929" y="113042"/>
                  <a:pt x="1260557" y="113042"/>
                </a:cubicBezTo>
                <a:cubicBezTo>
                  <a:pt x="1244993" y="113042"/>
                  <a:pt x="1232501" y="119323"/>
                  <a:pt x="1223081" y="131883"/>
                </a:cubicBezTo>
                <a:cubicBezTo>
                  <a:pt x="1213661" y="144443"/>
                  <a:pt x="1208951" y="161099"/>
                  <a:pt x="1208951" y="181851"/>
                </a:cubicBezTo>
                <a:lnTo>
                  <a:pt x="1208951" y="305133"/>
                </a:lnTo>
                <a:lnTo>
                  <a:pt x="1185195" y="305133"/>
                </a:lnTo>
                <a:lnTo>
                  <a:pt x="1185195" y="95431"/>
                </a:lnTo>
                <a:lnTo>
                  <a:pt x="1206084" y="95431"/>
                </a:lnTo>
                <a:lnTo>
                  <a:pt x="1207722" y="127787"/>
                </a:lnTo>
                <a:cubicBezTo>
                  <a:pt x="1212637" y="116319"/>
                  <a:pt x="1219804" y="107377"/>
                  <a:pt x="1229224" y="100960"/>
                </a:cubicBezTo>
                <a:cubicBezTo>
                  <a:pt x="1238645" y="94543"/>
                  <a:pt x="1249225" y="91335"/>
                  <a:pt x="1260967" y="91335"/>
                </a:cubicBezTo>
                <a:close/>
                <a:moveTo>
                  <a:pt x="491204" y="91335"/>
                </a:moveTo>
                <a:lnTo>
                  <a:pt x="553459" y="91335"/>
                </a:lnTo>
                <a:lnTo>
                  <a:pt x="553459" y="217074"/>
                </a:lnTo>
                <a:cubicBezTo>
                  <a:pt x="553459" y="230727"/>
                  <a:pt x="556258" y="241239"/>
                  <a:pt x="561855" y="248612"/>
                </a:cubicBezTo>
                <a:cubicBezTo>
                  <a:pt x="567453" y="255984"/>
                  <a:pt x="575440" y="259670"/>
                  <a:pt x="585816" y="259670"/>
                </a:cubicBezTo>
                <a:cubicBezTo>
                  <a:pt x="596191" y="259670"/>
                  <a:pt x="604451" y="255916"/>
                  <a:pt x="610595" y="248407"/>
                </a:cubicBezTo>
                <a:cubicBezTo>
                  <a:pt x="616738" y="240898"/>
                  <a:pt x="619810" y="230590"/>
                  <a:pt x="619810" y="217484"/>
                </a:cubicBezTo>
                <a:lnTo>
                  <a:pt x="619810" y="91335"/>
                </a:lnTo>
                <a:lnTo>
                  <a:pt x="682066" y="91335"/>
                </a:lnTo>
                <a:lnTo>
                  <a:pt x="682066" y="305133"/>
                </a:lnTo>
                <a:lnTo>
                  <a:pt x="627592" y="305133"/>
                </a:lnTo>
                <a:lnTo>
                  <a:pt x="624316" y="281787"/>
                </a:lnTo>
                <a:cubicBezTo>
                  <a:pt x="617216" y="291071"/>
                  <a:pt x="608410" y="298170"/>
                  <a:pt x="597898" y="303085"/>
                </a:cubicBezTo>
                <a:cubicBezTo>
                  <a:pt x="587385" y="308000"/>
                  <a:pt x="575849" y="310458"/>
                  <a:pt x="563289" y="310458"/>
                </a:cubicBezTo>
                <a:cubicBezTo>
                  <a:pt x="541445" y="310458"/>
                  <a:pt x="523970" y="302880"/>
                  <a:pt x="510863" y="287726"/>
                </a:cubicBezTo>
                <a:cubicBezTo>
                  <a:pt x="497757" y="272572"/>
                  <a:pt x="491204" y="252434"/>
                  <a:pt x="491204" y="227314"/>
                </a:cubicBezTo>
                <a:close/>
                <a:moveTo>
                  <a:pt x="2426398" y="90106"/>
                </a:moveTo>
                <a:cubicBezTo>
                  <a:pt x="2450972" y="90106"/>
                  <a:pt x="2469881" y="97410"/>
                  <a:pt x="2483124" y="112018"/>
                </a:cubicBezTo>
                <a:cubicBezTo>
                  <a:pt x="2496367" y="126627"/>
                  <a:pt x="2502989" y="147583"/>
                  <a:pt x="2502989" y="174888"/>
                </a:cubicBezTo>
                <a:lnTo>
                  <a:pt x="2502989" y="305133"/>
                </a:lnTo>
                <a:lnTo>
                  <a:pt x="2482100" y="305133"/>
                </a:lnTo>
                <a:lnTo>
                  <a:pt x="2480462" y="274415"/>
                </a:lnTo>
                <a:cubicBezTo>
                  <a:pt x="2474182" y="285610"/>
                  <a:pt x="2464966" y="294416"/>
                  <a:pt x="2452815" y="300833"/>
                </a:cubicBezTo>
                <a:cubicBezTo>
                  <a:pt x="2440665" y="307249"/>
                  <a:pt x="2427490" y="310458"/>
                  <a:pt x="2413292" y="310458"/>
                </a:cubicBezTo>
                <a:cubicBezTo>
                  <a:pt x="2393359" y="310458"/>
                  <a:pt x="2377385" y="304997"/>
                  <a:pt x="2365371" y="294075"/>
                </a:cubicBezTo>
                <a:cubicBezTo>
                  <a:pt x="2353357" y="283153"/>
                  <a:pt x="2347350" y="268544"/>
                  <a:pt x="2347350" y="250250"/>
                </a:cubicBezTo>
                <a:cubicBezTo>
                  <a:pt x="2347350" y="227041"/>
                  <a:pt x="2357112" y="209292"/>
                  <a:pt x="2376635" y="197005"/>
                </a:cubicBezTo>
                <a:cubicBezTo>
                  <a:pt x="2396158" y="184718"/>
                  <a:pt x="2424487" y="178574"/>
                  <a:pt x="2461621" y="178574"/>
                </a:cubicBezTo>
                <a:cubicBezTo>
                  <a:pt x="2464625" y="178574"/>
                  <a:pt x="2467628" y="178574"/>
                  <a:pt x="2470632" y="178574"/>
                </a:cubicBezTo>
                <a:cubicBezTo>
                  <a:pt x="2473636" y="178574"/>
                  <a:pt x="2476503" y="178711"/>
                  <a:pt x="2479233" y="178984"/>
                </a:cubicBezTo>
                <a:lnTo>
                  <a:pt x="2479233" y="177346"/>
                </a:lnTo>
                <a:cubicBezTo>
                  <a:pt x="2479233" y="154956"/>
                  <a:pt x="2474728" y="138368"/>
                  <a:pt x="2465717" y="127582"/>
                </a:cubicBezTo>
                <a:cubicBezTo>
                  <a:pt x="2456706" y="116797"/>
                  <a:pt x="2442917" y="111404"/>
                  <a:pt x="2424350" y="111404"/>
                </a:cubicBezTo>
                <a:cubicBezTo>
                  <a:pt x="2403052" y="111404"/>
                  <a:pt x="2382846" y="117821"/>
                  <a:pt x="2363733" y="130654"/>
                </a:cubicBezTo>
                <a:lnTo>
                  <a:pt x="2363733" y="108537"/>
                </a:lnTo>
                <a:cubicBezTo>
                  <a:pt x="2382573" y="96250"/>
                  <a:pt x="2403462" y="90106"/>
                  <a:pt x="2426398" y="90106"/>
                </a:cubicBezTo>
                <a:close/>
                <a:moveTo>
                  <a:pt x="2258529" y="90106"/>
                </a:moveTo>
                <a:cubicBezTo>
                  <a:pt x="2279281" y="90106"/>
                  <a:pt x="2296074" y="94338"/>
                  <a:pt x="2308907" y="102803"/>
                </a:cubicBezTo>
                <a:lnTo>
                  <a:pt x="2308907" y="125739"/>
                </a:lnTo>
                <a:cubicBezTo>
                  <a:pt x="2297166" y="116455"/>
                  <a:pt x="2280783" y="111814"/>
                  <a:pt x="2259758" y="111814"/>
                </a:cubicBezTo>
                <a:cubicBezTo>
                  <a:pt x="2237368" y="111814"/>
                  <a:pt x="2219688" y="119732"/>
                  <a:pt x="2206718" y="135569"/>
                </a:cubicBezTo>
                <a:cubicBezTo>
                  <a:pt x="2193748" y="151406"/>
                  <a:pt x="2187263" y="172977"/>
                  <a:pt x="2187263" y="200282"/>
                </a:cubicBezTo>
                <a:cubicBezTo>
                  <a:pt x="2187263" y="227041"/>
                  <a:pt x="2193817" y="248475"/>
                  <a:pt x="2206923" y="264585"/>
                </a:cubicBezTo>
                <a:cubicBezTo>
                  <a:pt x="2220029" y="280695"/>
                  <a:pt x="2237778" y="288750"/>
                  <a:pt x="2260168" y="288750"/>
                </a:cubicBezTo>
                <a:cubicBezTo>
                  <a:pt x="2279827" y="288750"/>
                  <a:pt x="2297303" y="283562"/>
                  <a:pt x="2312593" y="273186"/>
                </a:cubicBezTo>
                <a:lnTo>
                  <a:pt x="2312593" y="295713"/>
                </a:lnTo>
                <a:cubicBezTo>
                  <a:pt x="2295937" y="305543"/>
                  <a:pt x="2277779" y="310458"/>
                  <a:pt x="2258120" y="310458"/>
                </a:cubicBezTo>
                <a:cubicBezTo>
                  <a:pt x="2229177" y="310458"/>
                  <a:pt x="2206104" y="300559"/>
                  <a:pt x="2188902" y="280763"/>
                </a:cubicBezTo>
                <a:cubicBezTo>
                  <a:pt x="2171700" y="260967"/>
                  <a:pt x="2163098" y="234277"/>
                  <a:pt x="2163098" y="200691"/>
                </a:cubicBezTo>
                <a:cubicBezTo>
                  <a:pt x="2163098" y="178301"/>
                  <a:pt x="2167194" y="158778"/>
                  <a:pt x="2175386" y="142122"/>
                </a:cubicBezTo>
                <a:cubicBezTo>
                  <a:pt x="2183577" y="125466"/>
                  <a:pt x="2194841" y="112633"/>
                  <a:pt x="2209176" y="103622"/>
                </a:cubicBezTo>
                <a:cubicBezTo>
                  <a:pt x="2223511" y="94611"/>
                  <a:pt x="2239962" y="90106"/>
                  <a:pt x="2258529" y="90106"/>
                </a:cubicBezTo>
                <a:close/>
                <a:moveTo>
                  <a:pt x="2045189" y="90106"/>
                </a:moveTo>
                <a:cubicBezTo>
                  <a:pt x="2067306" y="90106"/>
                  <a:pt x="2084917" y="97683"/>
                  <a:pt x="2098024" y="112838"/>
                </a:cubicBezTo>
                <a:cubicBezTo>
                  <a:pt x="2111130" y="127992"/>
                  <a:pt x="2117683" y="148539"/>
                  <a:pt x="2117683" y="174479"/>
                </a:cubicBezTo>
                <a:lnTo>
                  <a:pt x="2117683" y="305133"/>
                </a:lnTo>
                <a:lnTo>
                  <a:pt x="2093928" y="305133"/>
                </a:lnTo>
                <a:lnTo>
                  <a:pt x="2093928" y="177755"/>
                </a:lnTo>
                <a:cubicBezTo>
                  <a:pt x="2093928" y="156730"/>
                  <a:pt x="2089218" y="140416"/>
                  <a:pt x="2079798" y="128811"/>
                </a:cubicBezTo>
                <a:cubicBezTo>
                  <a:pt x="2070377" y="117206"/>
                  <a:pt x="2057203" y="111404"/>
                  <a:pt x="2040274" y="111404"/>
                </a:cubicBezTo>
                <a:cubicBezTo>
                  <a:pt x="2022525" y="111404"/>
                  <a:pt x="2008122" y="117548"/>
                  <a:pt x="1997063" y="129835"/>
                </a:cubicBezTo>
                <a:cubicBezTo>
                  <a:pt x="1986005" y="142122"/>
                  <a:pt x="1980476" y="157959"/>
                  <a:pt x="1980476" y="177346"/>
                </a:cubicBezTo>
                <a:lnTo>
                  <a:pt x="1980476" y="305133"/>
                </a:lnTo>
                <a:lnTo>
                  <a:pt x="1956720" y="305133"/>
                </a:lnTo>
                <a:lnTo>
                  <a:pt x="1956720" y="95431"/>
                </a:lnTo>
                <a:lnTo>
                  <a:pt x="1977609" y="95431"/>
                </a:lnTo>
                <a:lnTo>
                  <a:pt x="1979247" y="126968"/>
                </a:lnTo>
                <a:cubicBezTo>
                  <a:pt x="1986073" y="115227"/>
                  <a:pt x="1995220" y="106148"/>
                  <a:pt x="2006688" y="99731"/>
                </a:cubicBezTo>
                <a:cubicBezTo>
                  <a:pt x="2018156" y="93314"/>
                  <a:pt x="2030990" y="90106"/>
                  <a:pt x="2045189" y="90106"/>
                </a:cubicBezTo>
                <a:close/>
                <a:moveTo>
                  <a:pt x="1826323" y="90106"/>
                </a:moveTo>
                <a:cubicBezTo>
                  <a:pt x="1850898" y="90106"/>
                  <a:pt x="1869806" y="97410"/>
                  <a:pt x="1883049" y="112018"/>
                </a:cubicBezTo>
                <a:cubicBezTo>
                  <a:pt x="1896292" y="126627"/>
                  <a:pt x="1902914" y="147583"/>
                  <a:pt x="1902914" y="174888"/>
                </a:cubicBezTo>
                <a:lnTo>
                  <a:pt x="1902914" y="305133"/>
                </a:lnTo>
                <a:lnTo>
                  <a:pt x="1882025" y="305133"/>
                </a:lnTo>
                <a:lnTo>
                  <a:pt x="1880387" y="274415"/>
                </a:lnTo>
                <a:cubicBezTo>
                  <a:pt x="1874107" y="285610"/>
                  <a:pt x="1864891" y="294416"/>
                  <a:pt x="1852741" y="300833"/>
                </a:cubicBezTo>
                <a:cubicBezTo>
                  <a:pt x="1840590" y="307249"/>
                  <a:pt x="1827415" y="310458"/>
                  <a:pt x="1813217" y="310458"/>
                </a:cubicBezTo>
                <a:cubicBezTo>
                  <a:pt x="1793284" y="310458"/>
                  <a:pt x="1777311" y="304997"/>
                  <a:pt x="1765296" y="294075"/>
                </a:cubicBezTo>
                <a:cubicBezTo>
                  <a:pt x="1753282" y="283153"/>
                  <a:pt x="1747275" y="268544"/>
                  <a:pt x="1747275" y="250250"/>
                </a:cubicBezTo>
                <a:cubicBezTo>
                  <a:pt x="1747275" y="227041"/>
                  <a:pt x="1757037" y="209292"/>
                  <a:pt x="1776560" y="197005"/>
                </a:cubicBezTo>
                <a:cubicBezTo>
                  <a:pt x="1796083" y="184718"/>
                  <a:pt x="1824412" y="178574"/>
                  <a:pt x="1861546" y="178574"/>
                </a:cubicBezTo>
                <a:cubicBezTo>
                  <a:pt x="1864550" y="178574"/>
                  <a:pt x="1867554" y="178574"/>
                  <a:pt x="1870557" y="178574"/>
                </a:cubicBezTo>
                <a:cubicBezTo>
                  <a:pt x="1873561" y="178574"/>
                  <a:pt x="1876428" y="178711"/>
                  <a:pt x="1879158" y="178984"/>
                </a:cubicBezTo>
                <a:lnTo>
                  <a:pt x="1879158" y="177346"/>
                </a:lnTo>
                <a:cubicBezTo>
                  <a:pt x="1879158" y="154956"/>
                  <a:pt x="1874653" y="138368"/>
                  <a:pt x="1865642" y="127582"/>
                </a:cubicBezTo>
                <a:cubicBezTo>
                  <a:pt x="1856632" y="116797"/>
                  <a:pt x="1842843" y="111404"/>
                  <a:pt x="1824275" y="111404"/>
                </a:cubicBezTo>
                <a:cubicBezTo>
                  <a:pt x="1802977" y="111404"/>
                  <a:pt x="1782772" y="117821"/>
                  <a:pt x="1763658" y="130654"/>
                </a:cubicBezTo>
                <a:lnTo>
                  <a:pt x="1763658" y="108537"/>
                </a:lnTo>
                <a:cubicBezTo>
                  <a:pt x="1782499" y="96250"/>
                  <a:pt x="1803387" y="90106"/>
                  <a:pt x="1826323" y="90106"/>
                </a:cubicBezTo>
                <a:close/>
                <a:moveTo>
                  <a:pt x="1411109" y="90106"/>
                </a:moveTo>
                <a:cubicBezTo>
                  <a:pt x="1428311" y="90106"/>
                  <a:pt x="1443329" y="94816"/>
                  <a:pt x="1456162" y="104237"/>
                </a:cubicBezTo>
                <a:cubicBezTo>
                  <a:pt x="1468996" y="113657"/>
                  <a:pt x="1478826" y="126558"/>
                  <a:pt x="1485652" y="142941"/>
                </a:cubicBezTo>
                <a:cubicBezTo>
                  <a:pt x="1492478" y="159324"/>
                  <a:pt x="1495891" y="178028"/>
                  <a:pt x="1495891" y="199053"/>
                </a:cubicBezTo>
                <a:cubicBezTo>
                  <a:pt x="1495891" y="232911"/>
                  <a:pt x="1487904" y="259943"/>
                  <a:pt x="1471931" y="280149"/>
                </a:cubicBezTo>
                <a:cubicBezTo>
                  <a:pt x="1455958" y="300355"/>
                  <a:pt x="1434728" y="310458"/>
                  <a:pt x="1408242" y="310458"/>
                </a:cubicBezTo>
                <a:cubicBezTo>
                  <a:pt x="1393770" y="310458"/>
                  <a:pt x="1380869" y="307044"/>
                  <a:pt x="1369537" y="300218"/>
                </a:cubicBezTo>
                <a:cubicBezTo>
                  <a:pt x="1358206" y="293392"/>
                  <a:pt x="1349127" y="283562"/>
                  <a:pt x="1342301" y="270729"/>
                </a:cubicBezTo>
                <a:lnTo>
                  <a:pt x="1342301" y="382952"/>
                </a:lnTo>
                <a:lnTo>
                  <a:pt x="1318545" y="382952"/>
                </a:lnTo>
                <a:lnTo>
                  <a:pt x="1318545" y="95431"/>
                </a:lnTo>
                <a:lnTo>
                  <a:pt x="1339433" y="95431"/>
                </a:lnTo>
                <a:lnTo>
                  <a:pt x="1341481" y="133521"/>
                </a:lnTo>
                <a:cubicBezTo>
                  <a:pt x="1347762" y="120142"/>
                  <a:pt x="1357113" y="109561"/>
                  <a:pt x="1369537" y="101779"/>
                </a:cubicBezTo>
                <a:cubicBezTo>
                  <a:pt x="1381961" y="93997"/>
                  <a:pt x="1395818" y="90106"/>
                  <a:pt x="1411109" y="90106"/>
                </a:cubicBezTo>
                <a:close/>
                <a:moveTo>
                  <a:pt x="1045987" y="90106"/>
                </a:moveTo>
                <a:cubicBezTo>
                  <a:pt x="1064555" y="90106"/>
                  <a:pt x="1080869" y="94816"/>
                  <a:pt x="1094932" y="104237"/>
                </a:cubicBezTo>
                <a:cubicBezTo>
                  <a:pt x="1108994" y="113657"/>
                  <a:pt x="1119711" y="126627"/>
                  <a:pt x="1127083" y="143146"/>
                </a:cubicBezTo>
                <a:cubicBezTo>
                  <a:pt x="1134456" y="159666"/>
                  <a:pt x="1138142" y="178574"/>
                  <a:pt x="1138142" y="199872"/>
                </a:cubicBezTo>
                <a:cubicBezTo>
                  <a:pt x="1138142" y="222262"/>
                  <a:pt x="1134114" y="241785"/>
                  <a:pt x="1126059" y="258441"/>
                </a:cubicBezTo>
                <a:cubicBezTo>
                  <a:pt x="1118004" y="275098"/>
                  <a:pt x="1107014" y="287931"/>
                  <a:pt x="1093088" y="296942"/>
                </a:cubicBezTo>
                <a:cubicBezTo>
                  <a:pt x="1079163" y="305952"/>
                  <a:pt x="1063326" y="310458"/>
                  <a:pt x="1045578" y="310458"/>
                </a:cubicBezTo>
                <a:cubicBezTo>
                  <a:pt x="1027010" y="310458"/>
                  <a:pt x="1010764" y="305679"/>
                  <a:pt x="996838" y="296122"/>
                </a:cubicBezTo>
                <a:cubicBezTo>
                  <a:pt x="982913" y="286566"/>
                  <a:pt x="972196" y="273528"/>
                  <a:pt x="964687" y="257008"/>
                </a:cubicBezTo>
                <a:cubicBezTo>
                  <a:pt x="957178" y="240488"/>
                  <a:pt x="953423" y="221716"/>
                  <a:pt x="953423" y="200691"/>
                </a:cubicBezTo>
                <a:cubicBezTo>
                  <a:pt x="953423" y="178301"/>
                  <a:pt x="957451" y="158778"/>
                  <a:pt x="965506" y="142122"/>
                </a:cubicBezTo>
                <a:cubicBezTo>
                  <a:pt x="973561" y="125466"/>
                  <a:pt x="984551" y="112633"/>
                  <a:pt x="998477" y="103622"/>
                </a:cubicBezTo>
                <a:cubicBezTo>
                  <a:pt x="1012402" y="94611"/>
                  <a:pt x="1028239" y="90106"/>
                  <a:pt x="1045987" y="90106"/>
                </a:cubicBezTo>
                <a:close/>
                <a:moveTo>
                  <a:pt x="354044" y="86010"/>
                </a:moveTo>
                <a:cubicBezTo>
                  <a:pt x="384352" y="86010"/>
                  <a:pt x="407766" y="94065"/>
                  <a:pt x="424286" y="110175"/>
                </a:cubicBezTo>
                <a:cubicBezTo>
                  <a:pt x="440805" y="126285"/>
                  <a:pt x="449065" y="149358"/>
                  <a:pt x="449065" y="179394"/>
                </a:cubicBezTo>
                <a:lnTo>
                  <a:pt x="449065" y="305133"/>
                </a:lnTo>
                <a:lnTo>
                  <a:pt x="398278" y="305133"/>
                </a:lnTo>
                <a:lnTo>
                  <a:pt x="395001" y="282606"/>
                </a:lnTo>
                <a:cubicBezTo>
                  <a:pt x="388721" y="291344"/>
                  <a:pt x="380188" y="298170"/>
                  <a:pt x="369403" y="303085"/>
                </a:cubicBezTo>
                <a:cubicBezTo>
                  <a:pt x="358617" y="308000"/>
                  <a:pt x="346808" y="310458"/>
                  <a:pt x="333974" y="310458"/>
                </a:cubicBezTo>
                <a:cubicBezTo>
                  <a:pt x="312677" y="310458"/>
                  <a:pt x="295679" y="304723"/>
                  <a:pt x="282982" y="293255"/>
                </a:cubicBezTo>
                <a:cubicBezTo>
                  <a:pt x="270286" y="281787"/>
                  <a:pt x="263937" y="266633"/>
                  <a:pt x="263937" y="247793"/>
                </a:cubicBezTo>
                <a:cubicBezTo>
                  <a:pt x="263937" y="223491"/>
                  <a:pt x="273357" y="204582"/>
                  <a:pt x="292198" y="191066"/>
                </a:cubicBezTo>
                <a:cubicBezTo>
                  <a:pt x="311038" y="177550"/>
                  <a:pt x="337661" y="170792"/>
                  <a:pt x="372065" y="170792"/>
                </a:cubicBezTo>
                <a:cubicBezTo>
                  <a:pt x="375069" y="170792"/>
                  <a:pt x="378072" y="170861"/>
                  <a:pt x="381076" y="170997"/>
                </a:cubicBezTo>
                <a:cubicBezTo>
                  <a:pt x="384079" y="171134"/>
                  <a:pt x="387083" y="171339"/>
                  <a:pt x="390086" y="171612"/>
                </a:cubicBezTo>
                <a:cubicBezTo>
                  <a:pt x="388721" y="159324"/>
                  <a:pt x="384284" y="150245"/>
                  <a:pt x="376775" y="144375"/>
                </a:cubicBezTo>
                <a:cubicBezTo>
                  <a:pt x="369266" y="138504"/>
                  <a:pt x="358276" y="135569"/>
                  <a:pt x="343804" y="135569"/>
                </a:cubicBezTo>
                <a:cubicBezTo>
                  <a:pt x="323872" y="135569"/>
                  <a:pt x="303666" y="140893"/>
                  <a:pt x="283187" y="151542"/>
                </a:cubicBezTo>
                <a:lnTo>
                  <a:pt x="283187" y="102803"/>
                </a:lnTo>
                <a:cubicBezTo>
                  <a:pt x="305031" y="91608"/>
                  <a:pt x="328650" y="86010"/>
                  <a:pt x="354044" y="86010"/>
                </a:cubicBezTo>
                <a:close/>
                <a:moveTo>
                  <a:pt x="125768" y="35633"/>
                </a:moveTo>
                <a:lnTo>
                  <a:pt x="188023" y="35633"/>
                </a:lnTo>
                <a:lnTo>
                  <a:pt x="188023" y="91335"/>
                </a:lnTo>
                <a:lnTo>
                  <a:pt x="233076" y="91335"/>
                </a:lnTo>
                <a:lnTo>
                  <a:pt x="233076" y="138846"/>
                </a:lnTo>
                <a:lnTo>
                  <a:pt x="188023" y="138846"/>
                </a:lnTo>
                <a:lnTo>
                  <a:pt x="188023" y="226085"/>
                </a:lnTo>
                <a:cubicBezTo>
                  <a:pt x="188023" y="237553"/>
                  <a:pt x="190344" y="246018"/>
                  <a:pt x="194986" y="251479"/>
                </a:cubicBezTo>
                <a:cubicBezTo>
                  <a:pt x="199628" y="256940"/>
                  <a:pt x="206863" y="259670"/>
                  <a:pt x="216693" y="259670"/>
                </a:cubicBezTo>
                <a:cubicBezTo>
                  <a:pt x="224339" y="259670"/>
                  <a:pt x="231438" y="258305"/>
                  <a:pt x="237991" y="255574"/>
                </a:cubicBezTo>
                <a:lnTo>
                  <a:pt x="237991" y="303495"/>
                </a:lnTo>
                <a:cubicBezTo>
                  <a:pt x="224885" y="307317"/>
                  <a:pt x="212871" y="309229"/>
                  <a:pt x="201948" y="309229"/>
                </a:cubicBezTo>
                <a:cubicBezTo>
                  <a:pt x="176828" y="309229"/>
                  <a:pt x="157851" y="302744"/>
                  <a:pt x="145018" y="289774"/>
                </a:cubicBezTo>
                <a:cubicBezTo>
                  <a:pt x="132184" y="276804"/>
                  <a:pt x="125768" y="257486"/>
                  <a:pt x="125768" y="231819"/>
                </a:cubicBezTo>
                <a:lnTo>
                  <a:pt x="125768" y="138846"/>
                </a:lnTo>
                <a:lnTo>
                  <a:pt x="93002" y="138846"/>
                </a:lnTo>
                <a:lnTo>
                  <a:pt x="93002" y="91335"/>
                </a:lnTo>
                <a:lnTo>
                  <a:pt x="125768" y="91335"/>
                </a:lnTo>
                <a:close/>
                <a:moveTo>
                  <a:pt x="0" y="28670"/>
                </a:moveTo>
                <a:lnTo>
                  <a:pt x="64303" y="28670"/>
                </a:lnTo>
                <a:lnTo>
                  <a:pt x="64303" y="305133"/>
                </a:lnTo>
                <a:lnTo>
                  <a:pt x="0" y="305133"/>
                </a:lnTo>
                <a:close/>
                <a:moveTo>
                  <a:pt x="840219" y="23345"/>
                </a:moveTo>
                <a:cubicBezTo>
                  <a:pt x="853052" y="23345"/>
                  <a:pt x="865612" y="25257"/>
                  <a:pt x="877900" y="29079"/>
                </a:cubicBezTo>
                <a:cubicBezTo>
                  <a:pt x="890187" y="32902"/>
                  <a:pt x="900563" y="38090"/>
                  <a:pt x="909027" y="44643"/>
                </a:cubicBezTo>
                <a:lnTo>
                  <a:pt x="909027" y="69627"/>
                </a:lnTo>
                <a:cubicBezTo>
                  <a:pt x="901382" y="62255"/>
                  <a:pt x="891347" y="56316"/>
                  <a:pt x="878924" y="51811"/>
                </a:cubicBezTo>
                <a:cubicBezTo>
                  <a:pt x="866500" y="47306"/>
                  <a:pt x="854008" y="45053"/>
                  <a:pt x="841448" y="45053"/>
                </a:cubicBezTo>
                <a:cubicBezTo>
                  <a:pt x="820696" y="45053"/>
                  <a:pt x="802811" y="50104"/>
                  <a:pt x="787793" y="60207"/>
                </a:cubicBezTo>
                <a:cubicBezTo>
                  <a:pt x="772775" y="70310"/>
                  <a:pt x="761307" y="84509"/>
                  <a:pt x="753389" y="102803"/>
                </a:cubicBezTo>
                <a:cubicBezTo>
                  <a:pt x="745470" y="121097"/>
                  <a:pt x="741511" y="142395"/>
                  <a:pt x="741511" y="166697"/>
                </a:cubicBezTo>
                <a:cubicBezTo>
                  <a:pt x="741511" y="191817"/>
                  <a:pt x="745743" y="213525"/>
                  <a:pt x="754208" y="231819"/>
                </a:cubicBezTo>
                <a:cubicBezTo>
                  <a:pt x="762673" y="250113"/>
                  <a:pt x="774414" y="264107"/>
                  <a:pt x="789431" y="273801"/>
                </a:cubicBezTo>
                <a:cubicBezTo>
                  <a:pt x="804449" y="283494"/>
                  <a:pt x="821788" y="288340"/>
                  <a:pt x="841448" y="288340"/>
                </a:cubicBezTo>
                <a:cubicBezTo>
                  <a:pt x="868479" y="288340"/>
                  <a:pt x="892644" y="279330"/>
                  <a:pt x="913942" y="261309"/>
                </a:cubicBezTo>
                <a:lnTo>
                  <a:pt x="913942" y="286293"/>
                </a:lnTo>
                <a:cubicBezTo>
                  <a:pt x="892917" y="302403"/>
                  <a:pt x="868070" y="310458"/>
                  <a:pt x="839400" y="310458"/>
                </a:cubicBezTo>
                <a:cubicBezTo>
                  <a:pt x="814279" y="310458"/>
                  <a:pt x="792435" y="304450"/>
                  <a:pt x="773868" y="292436"/>
                </a:cubicBezTo>
                <a:cubicBezTo>
                  <a:pt x="755300" y="280422"/>
                  <a:pt x="741102" y="263698"/>
                  <a:pt x="731272" y="242263"/>
                </a:cubicBezTo>
                <a:cubicBezTo>
                  <a:pt x="721442" y="220829"/>
                  <a:pt x="716527" y="196050"/>
                  <a:pt x="716527" y="167925"/>
                </a:cubicBezTo>
                <a:cubicBezTo>
                  <a:pt x="716527" y="138709"/>
                  <a:pt x="721852" y="113179"/>
                  <a:pt x="732501" y="91335"/>
                </a:cubicBezTo>
                <a:cubicBezTo>
                  <a:pt x="743150" y="69491"/>
                  <a:pt x="757758" y="52698"/>
                  <a:pt x="776325" y="40957"/>
                </a:cubicBezTo>
                <a:cubicBezTo>
                  <a:pt x="794892" y="29216"/>
                  <a:pt x="816190" y="23345"/>
                  <a:pt x="840219" y="23345"/>
                </a:cubicBezTo>
                <a:close/>
                <a:moveTo>
                  <a:pt x="1537620" y="0"/>
                </a:moveTo>
                <a:lnTo>
                  <a:pt x="1561376" y="0"/>
                </a:lnTo>
                <a:lnTo>
                  <a:pt x="1561376" y="131883"/>
                </a:lnTo>
                <a:cubicBezTo>
                  <a:pt x="1567929" y="119049"/>
                  <a:pt x="1577349" y="108878"/>
                  <a:pt x="1589636" y="101369"/>
                </a:cubicBezTo>
                <a:cubicBezTo>
                  <a:pt x="1601923" y="93861"/>
                  <a:pt x="1615439" y="90106"/>
                  <a:pt x="1630184" y="90106"/>
                </a:cubicBezTo>
                <a:cubicBezTo>
                  <a:pt x="1647386" y="90106"/>
                  <a:pt x="1662404" y="94816"/>
                  <a:pt x="1675237" y="104237"/>
                </a:cubicBezTo>
                <a:cubicBezTo>
                  <a:pt x="1688071" y="113657"/>
                  <a:pt x="1697901" y="126558"/>
                  <a:pt x="1704727" y="142941"/>
                </a:cubicBezTo>
                <a:cubicBezTo>
                  <a:pt x="1711553" y="159324"/>
                  <a:pt x="1714966" y="178028"/>
                  <a:pt x="1714966" y="199053"/>
                </a:cubicBezTo>
                <a:cubicBezTo>
                  <a:pt x="1714966" y="232911"/>
                  <a:pt x="1706979" y="259943"/>
                  <a:pt x="1691006" y="280149"/>
                </a:cubicBezTo>
                <a:cubicBezTo>
                  <a:pt x="1675033" y="300355"/>
                  <a:pt x="1653803" y="310458"/>
                  <a:pt x="1627317" y="310458"/>
                </a:cubicBezTo>
                <a:cubicBezTo>
                  <a:pt x="1612299" y="310458"/>
                  <a:pt x="1599056" y="306840"/>
                  <a:pt x="1587588" y="299604"/>
                </a:cubicBezTo>
                <a:cubicBezTo>
                  <a:pt x="1576120" y="292368"/>
                  <a:pt x="1566973" y="282060"/>
                  <a:pt x="1560147" y="268681"/>
                </a:cubicBezTo>
                <a:lnTo>
                  <a:pt x="1558508" y="305133"/>
                </a:lnTo>
                <a:lnTo>
                  <a:pt x="1537620" y="305133"/>
                </a:lnTo>
                <a:close/>
                <a:moveTo>
                  <a:pt x="599332" y="0"/>
                </a:moveTo>
                <a:lnTo>
                  <a:pt x="666092" y="0"/>
                </a:lnTo>
                <a:lnTo>
                  <a:pt x="608752" y="65122"/>
                </a:lnTo>
                <a:lnTo>
                  <a:pt x="554688" y="6512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3" name="Imagem 132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762819" y="407547"/>
            <a:ext cx="1092626" cy="1119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3676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115194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8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>
                <a:latin typeface="+mj-lt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784979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82884"/>
            <a:ext cx="11519450" cy="4409940"/>
          </a:xfrm>
        </p:spPr>
        <p:txBody>
          <a:bodyPr>
            <a:normAutofit/>
          </a:bodyPr>
          <a:lstStyle>
            <a:lvl1pPr marL="180000" indent="-180000">
              <a:spcBef>
                <a:spcPts val="1200"/>
              </a:spcBef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336549" y="1268413"/>
            <a:ext cx="11518329" cy="336651"/>
          </a:xfrm>
        </p:spPr>
        <p:txBody>
          <a:bodyPr>
            <a:normAutofit/>
          </a:bodyPr>
          <a:lstStyle>
            <a:lvl1pPr>
              <a:defRPr sz="1400" b="1"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pPr lvl="0"/>
            <a:r>
              <a:rPr lang="pt-BR" dirty="0"/>
              <a:t>Tópico 1</a:t>
            </a:r>
          </a:p>
        </p:txBody>
      </p:sp>
    </p:spTree>
    <p:extLst>
      <p:ext uri="{BB962C8B-B14F-4D97-AF65-F5344CB8AC3E}">
        <p14:creationId xmlns:p14="http://schemas.microsoft.com/office/powerpoint/2010/main" val="28858617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3773214" y="188914"/>
            <a:ext cx="8090175" cy="1673138"/>
          </a:xfrm>
        </p:spPr>
        <p:txBody>
          <a:bodyPr anchor="b">
            <a:normAutofit/>
          </a:bodyPr>
          <a:lstStyle>
            <a:lvl1pPr>
              <a:defRPr sz="4400" b="0">
                <a:solidFill>
                  <a:schemeClr val="accent5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r>
              <a:rPr lang="pt-BR" dirty="0"/>
              <a:t>Agenda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4576159" y="1944414"/>
            <a:ext cx="7280879" cy="4040461"/>
          </a:xfrm>
        </p:spPr>
        <p:txBody>
          <a:bodyPr>
            <a:normAutofit/>
          </a:bodyPr>
          <a:lstStyle>
            <a:lvl1pPr marL="457206" marR="0" indent="-457206" algn="l" defTabSz="914411" rtl="0" eaLnBrk="1" fontAlgn="auto" latinLnBrk="0" hangingPunct="1">
              <a:lnSpc>
                <a:spcPts val="2000"/>
              </a:lnSpc>
              <a:spcBef>
                <a:spcPts val="500"/>
              </a:spcBef>
              <a:spcAft>
                <a:spcPts val="500"/>
              </a:spcAft>
              <a:buClr>
                <a:schemeClr val="accent5"/>
              </a:buClr>
              <a:buSzTx/>
              <a:buFont typeface="+mj-lt"/>
              <a:buAutoNum type="arabicPeriod"/>
              <a:tabLst/>
              <a:defRPr sz="2000">
                <a:solidFill>
                  <a:schemeClr val="accent6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  <a:p>
            <a:pPr lvl="0"/>
            <a:r>
              <a:rPr lang="pt-BR" dirty="0"/>
              <a:t>Assunto</a:t>
            </a:r>
          </a:p>
        </p:txBody>
      </p:sp>
      <p:sp>
        <p:nvSpPr>
          <p:cNvPr id="10" name="Arredondar Retângulo em um Canto Único 9"/>
          <p:cNvSpPr/>
          <p:nvPr/>
        </p:nvSpPr>
        <p:spPr>
          <a:xfrm flipV="1">
            <a:off x="0" y="0"/>
            <a:ext cx="3552825" cy="6288636"/>
          </a:xfrm>
          <a:prstGeom prst="round1Rect">
            <a:avLst>
              <a:gd name="adj" fmla="val 353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2" name="Agrupar 11"/>
          <p:cNvGrpSpPr/>
          <p:nvPr/>
        </p:nvGrpSpPr>
        <p:grpSpPr>
          <a:xfrm>
            <a:off x="-63062" y="1049532"/>
            <a:ext cx="2622234" cy="5151084"/>
            <a:chOff x="-86974" y="1156601"/>
            <a:chExt cx="2622234" cy="5151084"/>
          </a:xfrm>
        </p:grpSpPr>
        <p:sp>
          <p:nvSpPr>
            <p:cNvPr id="13" name="Forma Livre 12"/>
            <p:cNvSpPr/>
            <p:nvPr/>
          </p:nvSpPr>
          <p:spPr>
            <a:xfrm>
              <a:off x="-86974" y="5771958"/>
              <a:ext cx="1522550" cy="517297"/>
            </a:xfrm>
            <a:custGeom>
              <a:avLst/>
              <a:gdLst>
                <a:gd name="connsiteX0" fmla="*/ 0 w 1522550"/>
                <a:gd name="connsiteY0" fmla="*/ 0 h 517297"/>
                <a:gd name="connsiteX1" fmla="*/ 366713 w 1522550"/>
                <a:gd name="connsiteY1" fmla="*/ 0 h 517297"/>
                <a:gd name="connsiteX2" fmla="*/ 404139 w 1522550"/>
                <a:gd name="connsiteY2" fmla="*/ 0 h 517297"/>
                <a:gd name="connsiteX3" fmla="*/ 770852 w 1522550"/>
                <a:gd name="connsiteY3" fmla="*/ 0 h 517297"/>
                <a:gd name="connsiteX4" fmla="*/ 770852 w 1522550"/>
                <a:gd name="connsiteY4" fmla="*/ 153573 h 517297"/>
                <a:gd name="connsiteX5" fmla="*/ 843092 w 1522550"/>
                <a:gd name="connsiteY5" fmla="*/ 182872 h 517297"/>
                <a:gd name="connsiteX6" fmla="*/ 880474 w 1522550"/>
                <a:gd name="connsiteY6" fmla="*/ 180347 h 517297"/>
                <a:gd name="connsiteX7" fmla="*/ 877443 w 1522550"/>
                <a:gd name="connsiteY7" fmla="*/ 200048 h 517297"/>
                <a:gd name="connsiteX8" fmla="*/ 978478 w 1522550"/>
                <a:gd name="connsiteY8" fmla="*/ 248040 h 517297"/>
                <a:gd name="connsiteX9" fmla="*/ 1012830 w 1522550"/>
                <a:gd name="connsiteY9" fmla="*/ 244504 h 517297"/>
                <a:gd name="connsiteX10" fmla="*/ 1028995 w 1522550"/>
                <a:gd name="connsiteY10" fmla="*/ 270773 h 517297"/>
                <a:gd name="connsiteX11" fmla="*/ 1107298 w 1522550"/>
                <a:gd name="connsiteY11" fmla="*/ 296032 h 517297"/>
                <a:gd name="connsiteX12" fmla="*/ 1213384 w 1522550"/>
                <a:gd name="connsiteY12" fmla="*/ 298558 h 517297"/>
                <a:gd name="connsiteX13" fmla="*/ 1215910 w 1522550"/>
                <a:gd name="connsiteY13" fmla="*/ 354126 h 517297"/>
                <a:gd name="connsiteX14" fmla="*/ 1402824 w 1522550"/>
                <a:gd name="connsiteY14" fmla="*/ 440006 h 517297"/>
                <a:gd name="connsiteX15" fmla="*/ 1443238 w 1522550"/>
                <a:gd name="connsiteY15" fmla="*/ 485472 h 517297"/>
                <a:gd name="connsiteX16" fmla="*/ 1522550 w 1522550"/>
                <a:gd name="connsiteY16" fmla="*/ 517297 h 517297"/>
                <a:gd name="connsiteX17" fmla="*/ 1155837 w 1522550"/>
                <a:gd name="connsiteY17" fmla="*/ 517297 h 517297"/>
                <a:gd name="connsiteX18" fmla="*/ 366713 w 1522550"/>
                <a:gd name="connsiteY18" fmla="*/ 517297 h 517297"/>
                <a:gd name="connsiteX19" fmla="*/ 0 w 1522550"/>
                <a:gd name="connsiteY19" fmla="*/ 517297 h 517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2550" h="517297">
                  <a:moveTo>
                    <a:pt x="0" y="0"/>
                  </a:moveTo>
                  <a:lnTo>
                    <a:pt x="366713" y="0"/>
                  </a:lnTo>
                  <a:lnTo>
                    <a:pt x="404139" y="0"/>
                  </a:lnTo>
                  <a:lnTo>
                    <a:pt x="770852" y="0"/>
                  </a:lnTo>
                  <a:lnTo>
                    <a:pt x="770852" y="153573"/>
                  </a:lnTo>
                  <a:lnTo>
                    <a:pt x="843092" y="182872"/>
                  </a:lnTo>
                  <a:lnTo>
                    <a:pt x="880474" y="180347"/>
                  </a:lnTo>
                  <a:lnTo>
                    <a:pt x="877443" y="200048"/>
                  </a:lnTo>
                  <a:lnTo>
                    <a:pt x="978478" y="248040"/>
                  </a:lnTo>
                  <a:lnTo>
                    <a:pt x="1012830" y="244504"/>
                  </a:lnTo>
                  <a:lnTo>
                    <a:pt x="1028995" y="270773"/>
                  </a:lnTo>
                  <a:lnTo>
                    <a:pt x="1107298" y="296032"/>
                  </a:lnTo>
                  <a:cubicBezTo>
                    <a:pt x="1141818" y="303189"/>
                    <a:pt x="1176759" y="297295"/>
                    <a:pt x="1213384" y="298558"/>
                  </a:cubicBezTo>
                  <a:lnTo>
                    <a:pt x="1215910" y="354126"/>
                  </a:lnTo>
                  <a:cubicBezTo>
                    <a:pt x="1273163" y="376859"/>
                    <a:pt x="1362831" y="418957"/>
                    <a:pt x="1402824" y="440006"/>
                  </a:cubicBezTo>
                  <a:lnTo>
                    <a:pt x="1443238" y="485472"/>
                  </a:lnTo>
                  <a:lnTo>
                    <a:pt x="1522550" y="517297"/>
                  </a:lnTo>
                  <a:lnTo>
                    <a:pt x="1155837" y="517297"/>
                  </a:lnTo>
                  <a:lnTo>
                    <a:pt x="366713" y="517297"/>
                  </a:lnTo>
                  <a:lnTo>
                    <a:pt x="0" y="517297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  <a:alpha val="6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14" name="Agrupar 13"/>
            <p:cNvGrpSpPr/>
            <p:nvPr/>
          </p:nvGrpSpPr>
          <p:grpSpPr>
            <a:xfrm>
              <a:off x="684642" y="1156601"/>
              <a:ext cx="1850618" cy="5151084"/>
              <a:chOff x="336000" y="1158151"/>
              <a:chExt cx="1744662" cy="4856163"/>
            </a:xfrm>
          </p:grpSpPr>
          <p:grpSp>
            <p:nvGrpSpPr>
              <p:cNvPr id="15" name="Group 4"/>
              <p:cNvGrpSpPr>
                <a:grpSpLocks noChangeAspect="1"/>
              </p:cNvGrpSpPr>
              <p:nvPr/>
            </p:nvGrpSpPr>
            <p:grpSpPr bwMode="auto">
              <a:xfrm>
                <a:off x="336000" y="1158151"/>
                <a:ext cx="1744662" cy="4856163"/>
                <a:chOff x="1295" y="712"/>
                <a:chExt cx="1099" cy="3059"/>
              </a:xfrm>
            </p:grpSpPr>
            <p:sp>
              <p:nvSpPr>
                <p:cNvPr id="25" name="Freeform 5"/>
                <p:cNvSpPr>
                  <a:spLocks/>
                </p:cNvSpPr>
                <p:nvPr/>
              </p:nvSpPr>
              <p:spPr bwMode="auto">
                <a:xfrm>
                  <a:off x="1360" y="1131"/>
                  <a:ext cx="64" cy="2280"/>
                </a:xfrm>
                <a:custGeom>
                  <a:avLst/>
                  <a:gdLst>
                    <a:gd name="T0" fmla="*/ 0 w 32"/>
                    <a:gd name="T1" fmla="*/ 232 h 1133"/>
                    <a:gd name="T2" fmla="*/ 0 w 32"/>
                    <a:gd name="T3" fmla="*/ 129 h 1133"/>
                    <a:gd name="T4" fmla="*/ 32 w 32"/>
                    <a:gd name="T5" fmla="*/ 0 h 1133"/>
                    <a:gd name="T6" fmla="*/ 32 w 32"/>
                    <a:gd name="T7" fmla="*/ 75 h 1133"/>
                    <a:gd name="T8" fmla="*/ 32 w 32"/>
                    <a:gd name="T9" fmla="*/ 1133 h 1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" h="1133">
                      <a:moveTo>
                        <a:pt x="0" y="232"/>
                      </a:moveTo>
                      <a:cubicBezTo>
                        <a:pt x="0" y="208"/>
                        <a:pt x="0" y="176"/>
                        <a:pt x="0" y="129"/>
                      </a:cubicBezTo>
                      <a:cubicBezTo>
                        <a:pt x="0" y="82"/>
                        <a:pt x="12" y="36"/>
                        <a:pt x="32" y="0"/>
                      </a:cubicBezTo>
                      <a:cubicBezTo>
                        <a:pt x="32" y="24"/>
                        <a:pt x="32" y="75"/>
                        <a:pt x="32" y="75"/>
                      </a:cubicBezTo>
                      <a:cubicBezTo>
                        <a:pt x="32" y="1133"/>
                        <a:pt x="32" y="1133"/>
                        <a:pt x="32" y="1133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26" name="Freeform 6"/>
                <p:cNvSpPr>
                  <a:spLocks/>
                </p:cNvSpPr>
                <p:nvPr/>
              </p:nvSpPr>
              <p:spPr bwMode="auto">
                <a:xfrm>
                  <a:off x="1295" y="1416"/>
                  <a:ext cx="44" cy="1957"/>
                </a:xfrm>
                <a:custGeom>
                  <a:avLst/>
                  <a:gdLst>
                    <a:gd name="T0" fmla="*/ 4 w 22"/>
                    <a:gd name="T1" fmla="*/ 964 h 972"/>
                    <a:gd name="T2" fmla="*/ 0 w 22"/>
                    <a:gd name="T3" fmla="*/ 91 h 972"/>
                    <a:gd name="T4" fmla="*/ 22 w 22"/>
                    <a:gd name="T5" fmla="*/ 0 h 972"/>
                    <a:gd name="T6" fmla="*/ 21 w 22"/>
                    <a:gd name="T7" fmla="*/ 972 h 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972">
                      <a:moveTo>
                        <a:pt x="4" y="964"/>
                      </a:moveTo>
                      <a:cubicBezTo>
                        <a:pt x="0" y="91"/>
                        <a:pt x="0" y="91"/>
                        <a:pt x="0" y="91"/>
                      </a:cubicBezTo>
                      <a:cubicBezTo>
                        <a:pt x="0" y="91"/>
                        <a:pt x="8" y="27"/>
                        <a:pt x="22" y="0"/>
                      </a:cubicBezTo>
                      <a:cubicBezTo>
                        <a:pt x="22" y="58"/>
                        <a:pt x="21" y="972"/>
                        <a:pt x="21" y="972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27" name="Freeform 7"/>
                <p:cNvSpPr>
                  <a:spLocks/>
                </p:cNvSpPr>
                <p:nvPr/>
              </p:nvSpPr>
              <p:spPr bwMode="auto">
                <a:xfrm>
                  <a:off x="1422" y="1275"/>
                  <a:ext cx="97" cy="2180"/>
                </a:xfrm>
                <a:custGeom>
                  <a:avLst/>
                  <a:gdLst>
                    <a:gd name="T0" fmla="*/ 0 w 97"/>
                    <a:gd name="T1" fmla="*/ 0 h 2180"/>
                    <a:gd name="T2" fmla="*/ 97 w 97"/>
                    <a:gd name="T3" fmla="*/ 69 h 2180"/>
                    <a:gd name="T4" fmla="*/ 97 w 97"/>
                    <a:gd name="T5" fmla="*/ 2180 h 2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7" h="2180">
                      <a:moveTo>
                        <a:pt x="0" y="0"/>
                      </a:moveTo>
                      <a:lnTo>
                        <a:pt x="97" y="69"/>
                      </a:lnTo>
                      <a:lnTo>
                        <a:pt x="97" y="2180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28" name="Line 8"/>
                <p:cNvSpPr>
                  <a:spLocks noChangeShapeType="1"/>
                </p:cNvSpPr>
                <p:nvPr/>
              </p:nvSpPr>
              <p:spPr bwMode="auto">
                <a:xfrm>
                  <a:off x="1596" y="1010"/>
                  <a:ext cx="75" cy="50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29" name="Freeform 9"/>
                <p:cNvSpPr>
                  <a:spLocks/>
                </p:cNvSpPr>
                <p:nvPr/>
              </p:nvSpPr>
              <p:spPr bwMode="auto">
                <a:xfrm>
                  <a:off x="1469" y="833"/>
                  <a:ext cx="129" cy="2658"/>
                </a:xfrm>
                <a:custGeom>
                  <a:avLst/>
                  <a:gdLst>
                    <a:gd name="T0" fmla="*/ 64 w 64"/>
                    <a:gd name="T1" fmla="*/ 1321 h 1321"/>
                    <a:gd name="T2" fmla="*/ 64 w 64"/>
                    <a:gd name="T3" fmla="*/ 0 h 1321"/>
                    <a:gd name="T4" fmla="*/ 0 w 64"/>
                    <a:gd name="T5" fmla="*/ 157 h 1321"/>
                    <a:gd name="T6" fmla="*/ 0 w 64"/>
                    <a:gd name="T7" fmla="*/ 236 h 1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321">
                      <a:moveTo>
                        <a:pt x="64" y="1321"/>
                      </a:move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0"/>
                        <a:pt x="14" y="78"/>
                        <a:pt x="0" y="157"/>
                      </a:cubicBezTo>
                      <a:cubicBezTo>
                        <a:pt x="0" y="195"/>
                        <a:pt x="0" y="236"/>
                        <a:pt x="0" y="236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0" name="Line 10"/>
                <p:cNvSpPr>
                  <a:spLocks noChangeShapeType="1"/>
                </p:cNvSpPr>
                <p:nvPr/>
              </p:nvSpPr>
              <p:spPr bwMode="auto">
                <a:xfrm>
                  <a:off x="1295" y="3352"/>
                  <a:ext cx="376" cy="173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1" name="Line 11"/>
                <p:cNvSpPr>
                  <a:spLocks noChangeShapeType="1"/>
                </p:cNvSpPr>
                <p:nvPr/>
              </p:nvSpPr>
              <p:spPr bwMode="auto">
                <a:xfrm>
                  <a:off x="1554" y="3660"/>
                  <a:ext cx="117" cy="55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2" name="Line 12"/>
                <p:cNvSpPr>
                  <a:spLocks noChangeShapeType="1"/>
                </p:cNvSpPr>
                <p:nvPr/>
              </p:nvSpPr>
              <p:spPr bwMode="auto">
                <a:xfrm>
                  <a:off x="1554" y="3660"/>
                  <a:ext cx="0" cy="0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3" name="Freeform 13"/>
                <p:cNvSpPr>
                  <a:spLocks/>
                </p:cNvSpPr>
                <p:nvPr/>
              </p:nvSpPr>
              <p:spPr bwMode="auto">
                <a:xfrm>
                  <a:off x="1295" y="3352"/>
                  <a:ext cx="38" cy="208"/>
                </a:xfrm>
                <a:custGeom>
                  <a:avLst/>
                  <a:gdLst>
                    <a:gd name="T0" fmla="*/ 0 w 38"/>
                    <a:gd name="T1" fmla="*/ 0 h 208"/>
                    <a:gd name="T2" fmla="*/ 0 w 38"/>
                    <a:gd name="T3" fmla="*/ 190 h 208"/>
                    <a:gd name="T4" fmla="*/ 38 w 38"/>
                    <a:gd name="T5" fmla="*/ 208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8" h="208">
                      <a:moveTo>
                        <a:pt x="0" y="0"/>
                      </a:moveTo>
                      <a:lnTo>
                        <a:pt x="0" y="190"/>
                      </a:lnTo>
                      <a:lnTo>
                        <a:pt x="38" y="208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4" name="Freeform 14"/>
                <p:cNvSpPr>
                  <a:spLocks/>
                </p:cNvSpPr>
                <p:nvPr/>
              </p:nvSpPr>
              <p:spPr bwMode="auto">
                <a:xfrm>
                  <a:off x="1333" y="3367"/>
                  <a:ext cx="27" cy="193"/>
                </a:xfrm>
                <a:custGeom>
                  <a:avLst/>
                  <a:gdLst>
                    <a:gd name="T0" fmla="*/ 0 w 27"/>
                    <a:gd name="T1" fmla="*/ 0 h 193"/>
                    <a:gd name="T2" fmla="*/ 0 w 27"/>
                    <a:gd name="T3" fmla="*/ 193 h 193"/>
                    <a:gd name="T4" fmla="*/ 27 w 27"/>
                    <a:gd name="T5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193">
                      <a:moveTo>
                        <a:pt x="0" y="0"/>
                      </a:moveTo>
                      <a:lnTo>
                        <a:pt x="0" y="193"/>
                      </a:lnTo>
                      <a:lnTo>
                        <a:pt x="27" y="193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5" name="Freeform 15"/>
                <p:cNvSpPr>
                  <a:spLocks/>
                </p:cNvSpPr>
                <p:nvPr/>
              </p:nvSpPr>
              <p:spPr bwMode="auto">
                <a:xfrm>
                  <a:off x="1360" y="3381"/>
                  <a:ext cx="52" cy="215"/>
                </a:xfrm>
                <a:custGeom>
                  <a:avLst/>
                  <a:gdLst>
                    <a:gd name="T0" fmla="*/ 0 w 52"/>
                    <a:gd name="T1" fmla="*/ 0 h 215"/>
                    <a:gd name="T2" fmla="*/ 0 w 52"/>
                    <a:gd name="T3" fmla="*/ 189 h 215"/>
                    <a:gd name="T4" fmla="*/ 0 w 52"/>
                    <a:gd name="T5" fmla="*/ 191 h 215"/>
                    <a:gd name="T6" fmla="*/ 52 w 52"/>
                    <a:gd name="T7" fmla="*/ 215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" h="215">
                      <a:moveTo>
                        <a:pt x="0" y="0"/>
                      </a:moveTo>
                      <a:lnTo>
                        <a:pt x="0" y="189"/>
                      </a:lnTo>
                      <a:lnTo>
                        <a:pt x="0" y="191"/>
                      </a:lnTo>
                      <a:lnTo>
                        <a:pt x="52" y="215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6" name="Freeform 16"/>
                <p:cNvSpPr>
                  <a:spLocks/>
                </p:cNvSpPr>
                <p:nvPr/>
              </p:nvSpPr>
              <p:spPr bwMode="auto">
                <a:xfrm>
                  <a:off x="1442" y="3421"/>
                  <a:ext cx="49" cy="207"/>
                </a:xfrm>
                <a:custGeom>
                  <a:avLst/>
                  <a:gdLst>
                    <a:gd name="T0" fmla="*/ 0 w 49"/>
                    <a:gd name="T1" fmla="*/ 0 h 207"/>
                    <a:gd name="T2" fmla="*/ 0 w 49"/>
                    <a:gd name="T3" fmla="*/ 187 h 207"/>
                    <a:gd name="T4" fmla="*/ 49 w 49"/>
                    <a:gd name="T5" fmla="*/ 20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9" h="207">
                      <a:moveTo>
                        <a:pt x="0" y="0"/>
                      </a:moveTo>
                      <a:lnTo>
                        <a:pt x="0" y="187"/>
                      </a:lnTo>
                      <a:lnTo>
                        <a:pt x="49" y="207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7" name="Freeform 17"/>
                <p:cNvSpPr>
                  <a:spLocks/>
                </p:cNvSpPr>
                <p:nvPr/>
              </p:nvSpPr>
              <p:spPr bwMode="auto">
                <a:xfrm>
                  <a:off x="1491" y="3441"/>
                  <a:ext cx="65" cy="187"/>
                </a:xfrm>
                <a:custGeom>
                  <a:avLst/>
                  <a:gdLst>
                    <a:gd name="T0" fmla="*/ 0 w 65"/>
                    <a:gd name="T1" fmla="*/ 0 h 187"/>
                    <a:gd name="T2" fmla="*/ 0 w 65"/>
                    <a:gd name="T3" fmla="*/ 187 h 187"/>
                    <a:gd name="T4" fmla="*/ 65 w 65"/>
                    <a:gd name="T5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5" h="187">
                      <a:moveTo>
                        <a:pt x="0" y="0"/>
                      </a:moveTo>
                      <a:lnTo>
                        <a:pt x="0" y="187"/>
                      </a:lnTo>
                      <a:lnTo>
                        <a:pt x="65" y="187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8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1556" y="3471"/>
                  <a:ext cx="0" cy="189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39" name="Freeform 19"/>
                <p:cNvSpPr>
                  <a:spLocks/>
                </p:cNvSpPr>
                <p:nvPr/>
              </p:nvSpPr>
              <p:spPr bwMode="auto">
                <a:xfrm>
                  <a:off x="1412" y="3405"/>
                  <a:ext cx="30" cy="193"/>
                </a:xfrm>
                <a:custGeom>
                  <a:avLst/>
                  <a:gdLst>
                    <a:gd name="T0" fmla="*/ 0 w 30"/>
                    <a:gd name="T1" fmla="*/ 0 h 193"/>
                    <a:gd name="T2" fmla="*/ 0 w 30"/>
                    <a:gd name="T3" fmla="*/ 193 h 193"/>
                    <a:gd name="T4" fmla="*/ 30 w 30"/>
                    <a:gd name="T5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0" h="193">
                      <a:moveTo>
                        <a:pt x="0" y="0"/>
                      </a:moveTo>
                      <a:lnTo>
                        <a:pt x="0" y="193"/>
                      </a:lnTo>
                      <a:lnTo>
                        <a:pt x="30" y="193"/>
                      </a:ln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0" name="Line 20"/>
                <p:cNvSpPr>
                  <a:spLocks noChangeShapeType="1"/>
                </p:cNvSpPr>
                <p:nvPr/>
              </p:nvSpPr>
              <p:spPr bwMode="auto">
                <a:xfrm>
                  <a:off x="1671" y="3715"/>
                  <a:ext cx="0" cy="0"/>
                </a:xfrm>
                <a:prstGeom prst="line">
                  <a:avLst/>
                </a:pr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1" name="Freeform 22"/>
                <p:cNvSpPr>
                  <a:spLocks/>
                </p:cNvSpPr>
                <p:nvPr/>
              </p:nvSpPr>
              <p:spPr bwMode="auto">
                <a:xfrm>
                  <a:off x="1671" y="770"/>
                  <a:ext cx="723" cy="419"/>
                </a:xfrm>
                <a:custGeom>
                  <a:avLst/>
                  <a:gdLst>
                    <a:gd name="T0" fmla="*/ 0 w 358"/>
                    <a:gd name="T1" fmla="*/ 59 h 208"/>
                    <a:gd name="T2" fmla="*/ 46 w 358"/>
                    <a:gd name="T3" fmla="*/ 6 h 208"/>
                    <a:gd name="T4" fmla="*/ 358 w 358"/>
                    <a:gd name="T5" fmla="*/ 208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208">
                      <a:moveTo>
                        <a:pt x="0" y="59"/>
                      </a:moveTo>
                      <a:cubicBezTo>
                        <a:pt x="11" y="21"/>
                        <a:pt x="31" y="10"/>
                        <a:pt x="46" y="6"/>
                      </a:cubicBezTo>
                      <a:cubicBezTo>
                        <a:pt x="70" y="0"/>
                        <a:pt x="182" y="24"/>
                        <a:pt x="358" y="20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2" name="Freeform 23"/>
                <p:cNvSpPr>
                  <a:spLocks/>
                </p:cNvSpPr>
                <p:nvPr/>
              </p:nvSpPr>
              <p:spPr bwMode="auto">
                <a:xfrm>
                  <a:off x="1671" y="903"/>
                  <a:ext cx="723" cy="403"/>
                </a:xfrm>
                <a:custGeom>
                  <a:avLst/>
                  <a:gdLst>
                    <a:gd name="T0" fmla="*/ 0 w 358"/>
                    <a:gd name="T1" fmla="*/ 57 h 200"/>
                    <a:gd name="T2" fmla="*/ 46 w 358"/>
                    <a:gd name="T3" fmla="*/ 7 h 200"/>
                    <a:gd name="T4" fmla="*/ 358 w 358"/>
                    <a:gd name="T5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200">
                      <a:moveTo>
                        <a:pt x="0" y="57"/>
                      </a:moveTo>
                      <a:cubicBezTo>
                        <a:pt x="11" y="19"/>
                        <a:pt x="31" y="11"/>
                        <a:pt x="46" y="7"/>
                      </a:cubicBezTo>
                      <a:cubicBezTo>
                        <a:pt x="70" y="0"/>
                        <a:pt x="182" y="16"/>
                        <a:pt x="358" y="20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3" name="Freeform 24"/>
                <p:cNvSpPr>
                  <a:spLocks/>
                </p:cNvSpPr>
                <p:nvPr/>
              </p:nvSpPr>
              <p:spPr bwMode="auto">
                <a:xfrm>
                  <a:off x="1671" y="1038"/>
                  <a:ext cx="723" cy="382"/>
                </a:xfrm>
                <a:custGeom>
                  <a:avLst/>
                  <a:gdLst>
                    <a:gd name="T0" fmla="*/ 0 w 358"/>
                    <a:gd name="T1" fmla="*/ 55 h 190"/>
                    <a:gd name="T2" fmla="*/ 46 w 358"/>
                    <a:gd name="T3" fmla="*/ 6 h 190"/>
                    <a:gd name="T4" fmla="*/ 358 w 358"/>
                    <a:gd name="T5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90">
                      <a:moveTo>
                        <a:pt x="0" y="55"/>
                      </a:moveTo>
                      <a:cubicBezTo>
                        <a:pt x="11" y="17"/>
                        <a:pt x="31" y="10"/>
                        <a:pt x="46" y="6"/>
                      </a:cubicBezTo>
                      <a:cubicBezTo>
                        <a:pt x="70" y="0"/>
                        <a:pt x="182" y="11"/>
                        <a:pt x="358" y="19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4" name="Freeform 25"/>
                <p:cNvSpPr>
                  <a:spLocks/>
                </p:cNvSpPr>
                <p:nvPr/>
              </p:nvSpPr>
              <p:spPr bwMode="auto">
                <a:xfrm>
                  <a:off x="1671" y="1173"/>
                  <a:ext cx="723" cy="364"/>
                </a:xfrm>
                <a:custGeom>
                  <a:avLst/>
                  <a:gdLst>
                    <a:gd name="T0" fmla="*/ 0 w 358"/>
                    <a:gd name="T1" fmla="*/ 52 h 181"/>
                    <a:gd name="T2" fmla="*/ 46 w 358"/>
                    <a:gd name="T3" fmla="*/ 6 h 181"/>
                    <a:gd name="T4" fmla="*/ 358 w 358"/>
                    <a:gd name="T5" fmla="*/ 18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81">
                      <a:moveTo>
                        <a:pt x="0" y="52"/>
                      </a:moveTo>
                      <a:cubicBezTo>
                        <a:pt x="11" y="17"/>
                        <a:pt x="31" y="9"/>
                        <a:pt x="46" y="6"/>
                      </a:cubicBezTo>
                      <a:cubicBezTo>
                        <a:pt x="70" y="0"/>
                        <a:pt x="182" y="17"/>
                        <a:pt x="358" y="1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5" name="Freeform 26"/>
                <p:cNvSpPr>
                  <a:spLocks/>
                </p:cNvSpPr>
                <p:nvPr/>
              </p:nvSpPr>
              <p:spPr bwMode="auto">
                <a:xfrm>
                  <a:off x="1671" y="1308"/>
                  <a:ext cx="723" cy="344"/>
                </a:xfrm>
                <a:custGeom>
                  <a:avLst/>
                  <a:gdLst>
                    <a:gd name="T0" fmla="*/ 0 w 358"/>
                    <a:gd name="T1" fmla="*/ 49 h 171"/>
                    <a:gd name="T2" fmla="*/ 46 w 358"/>
                    <a:gd name="T3" fmla="*/ 5 h 171"/>
                    <a:gd name="T4" fmla="*/ 358 w 358"/>
                    <a:gd name="T5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71">
                      <a:moveTo>
                        <a:pt x="0" y="49"/>
                      </a:moveTo>
                      <a:cubicBezTo>
                        <a:pt x="11" y="17"/>
                        <a:pt x="31" y="8"/>
                        <a:pt x="46" y="5"/>
                      </a:cubicBezTo>
                      <a:cubicBezTo>
                        <a:pt x="70" y="0"/>
                        <a:pt x="182" y="20"/>
                        <a:pt x="358" y="17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6" name="Freeform 27"/>
                <p:cNvSpPr>
                  <a:spLocks/>
                </p:cNvSpPr>
                <p:nvPr/>
              </p:nvSpPr>
              <p:spPr bwMode="auto">
                <a:xfrm>
                  <a:off x="1671" y="1438"/>
                  <a:ext cx="723" cy="331"/>
                </a:xfrm>
                <a:custGeom>
                  <a:avLst/>
                  <a:gdLst>
                    <a:gd name="T0" fmla="*/ 0 w 358"/>
                    <a:gd name="T1" fmla="*/ 47 h 164"/>
                    <a:gd name="T2" fmla="*/ 46 w 358"/>
                    <a:gd name="T3" fmla="*/ 6 h 164"/>
                    <a:gd name="T4" fmla="*/ 358 w 358"/>
                    <a:gd name="T5" fmla="*/ 164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64">
                      <a:moveTo>
                        <a:pt x="0" y="47"/>
                      </a:moveTo>
                      <a:cubicBezTo>
                        <a:pt x="11" y="17"/>
                        <a:pt x="31" y="9"/>
                        <a:pt x="46" y="6"/>
                      </a:cubicBezTo>
                      <a:cubicBezTo>
                        <a:pt x="70" y="0"/>
                        <a:pt x="182" y="20"/>
                        <a:pt x="358" y="16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7" name="Freeform 28"/>
                <p:cNvSpPr>
                  <a:spLocks/>
                </p:cNvSpPr>
                <p:nvPr/>
              </p:nvSpPr>
              <p:spPr bwMode="auto">
                <a:xfrm>
                  <a:off x="1671" y="1577"/>
                  <a:ext cx="723" cy="312"/>
                </a:xfrm>
                <a:custGeom>
                  <a:avLst/>
                  <a:gdLst>
                    <a:gd name="T0" fmla="*/ 0 w 358"/>
                    <a:gd name="T1" fmla="*/ 44 h 155"/>
                    <a:gd name="T2" fmla="*/ 46 w 358"/>
                    <a:gd name="T3" fmla="*/ 5 h 155"/>
                    <a:gd name="T4" fmla="*/ 358 w 358"/>
                    <a:gd name="T5" fmla="*/ 155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55">
                      <a:moveTo>
                        <a:pt x="0" y="44"/>
                      </a:moveTo>
                      <a:cubicBezTo>
                        <a:pt x="11" y="15"/>
                        <a:pt x="31" y="7"/>
                        <a:pt x="46" y="5"/>
                      </a:cubicBezTo>
                      <a:cubicBezTo>
                        <a:pt x="70" y="0"/>
                        <a:pt x="182" y="18"/>
                        <a:pt x="358" y="15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8" name="Freeform 29"/>
                <p:cNvSpPr>
                  <a:spLocks/>
                </p:cNvSpPr>
                <p:nvPr/>
              </p:nvSpPr>
              <p:spPr bwMode="auto">
                <a:xfrm>
                  <a:off x="1671" y="1716"/>
                  <a:ext cx="723" cy="276"/>
                </a:xfrm>
                <a:custGeom>
                  <a:avLst/>
                  <a:gdLst>
                    <a:gd name="T0" fmla="*/ 0 w 358"/>
                    <a:gd name="T1" fmla="*/ 39 h 137"/>
                    <a:gd name="T2" fmla="*/ 46 w 358"/>
                    <a:gd name="T3" fmla="*/ 4 h 137"/>
                    <a:gd name="T4" fmla="*/ 358 w 358"/>
                    <a:gd name="T5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37">
                      <a:moveTo>
                        <a:pt x="0" y="39"/>
                      </a:moveTo>
                      <a:cubicBezTo>
                        <a:pt x="11" y="14"/>
                        <a:pt x="31" y="7"/>
                        <a:pt x="46" y="4"/>
                      </a:cubicBezTo>
                      <a:cubicBezTo>
                        <a:pt x="70" y="0"/>
                        <a:pt x="182" y="16"/>
                        <a:pt x="358" y="13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49" name="Freeform 30"/>
                <p:cNvSpPr>
                  <a:spLocks/>
                </p:cNvSpPr>
                <p:nvPr/>
              </p:nvSpPr>
              <p:spPr bwMode="auto">
                <a:xfrm>
                  <a:off x="1671" y="1853"/>
                  <a:ext cx="723" cy="244"/>
                </a:xfrm>
                <a:custGeom>
                  <a:avLst/>
                  <a:gdLst>
                    <a:gd name="T0" fmla="*/ 0 w 358"/>
                    <a:gd name="T1" fmla="*/ 35 h 121"/>
                    <a:gd name="T2" fmla="*/ 46 w 358"/>
                    <a:gd name="T3" fmla="*/ 4 h 121"/>
                    <a:gd name="T4" fmla="*/ 358 w 358"/>
                    <a:gd name="T5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21">
                      <a:moveTo>
                        <a:pt x="0" y="35"/>
                      </a:moveTo>
                      <a:cubicBezTo>
                        <a:pt x="11" y="12"/>
                        <a:pt x="31" y="6"/>
                        <a:pt x="46" y="4"/>
                      </a:cubicBezTo>
                      <a:cubicBezTo>
                        <a:pt x="70" y="0"/>
                        <a:pt x="182" y="14"/>
                        <a:pt x="358" y="1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0" name="Freeform 31"/>
                <p:cNvSpPr>
                  <a:spLocks/>
                </p:cNvSpPr>
                <p:nvPr/>
              </p:nvSpPr>
              <p:spPr bwMode="auto">
                <a:xfrm>
                  <a:off x="1671" y="1992"/>
                  <a:ext cx="723" cy="225"/>
                </a:xfrm>
                <a:custGeom>
                  <a:avLst/>
                  <a:gdLst>
                    <a:gd name="T0" fmla="*/ 0 w 358"/>
                    <a:gd name="T1" fmla="*/ 32 h 112"/>
                    <a:gd name="T2" fmla="*/ 46 w 358"/>
                    <a:gd name="T3" fmla="*/ 4 h 112"/>
                    <a:gd name="T4" fmla="*/ 358 w 358"/>
                    <a:gd name="T5" fmla="*/ 1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12">
                      <a:moveTo>
                        <a:pt x="0" y="32"/>
                      </a:moveTo>
                      <a:cubicBezTo>
                        <a:pt x="11" y="11"/>
                        <a:pt x="31" y="6"/>
                        <a:pt x="46" y="4"/>
                      </a:cubicBezTo>
                      <a:cubicBezTo>
                        <a:pt x="70" y="0"/>
                        <a:pt x="182" y="13"/>
                        <a:pt x="358" y="11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1" name="Freeform 32"/>
                <p:cNvSpPr>
                  <a:spLocks/>
                </p:cNvSpPr>
                <p:nvPr/>
              </p:nvSpPr>
              <p:spPr bwMode="auto">
                <a:xfrm>
                  <a:off x="1671" y="2121"/>
                  <a:ext cx="723" cy="209"/>
                </a:xfrm>
                <a:custGeom>
                  <a:avLst/>
                  <a:gdLst>
                    <a:gd name="T0" fmla="*/ 0 w 358"/>
                    <a:gd name="T1" fmla="*/ 30 h 104"/>
                    <a:gd name="T2" fmla="*/ 46 w 358"/>
                    <a:gd name="T3" fmla="*/ 4 h 104"/>
                    <a:gd name="T4" fmla="*/ 358 w 358"/>
                    <a:gd name="T5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04">
                      <a:moveTo>
                        <a:pt x="0" y="30"/>
                      </a:moveTo>
                      <a:cubicBezTo>
                        <a:pt x="11" y="11"/>
                        <a:pt x="31" y="6"/>
                        <a:pt x="46" y="4"/>
                      </a:cubicBezTo>
                      <a:cubicBezTo>
                        <a:pt x="70" y="0"/>
                        <a:pt x="182" y="13"/>
                        <a:pt x="358" y="1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2" name="Freeform 33"/>
                <p:cNvSpPr>
                  <a:spLocks/>
                </p:cNvSpPr>
                <p:nvPr/>
              </p:nvSpPr>
              <p:spPr bwMode="auto">
                <a:xfrm>
                  <a:off x="1671" y="2270"/>
                  <a:ext cx="723" cy="185"/>
                </a:xfrm>
                <a:custGeom>
                  <a:avLst/>
                  <a:gdLst>
                    <a:gd name="T0" fmla="*/ 0 w 358"/>
                    <a:gd name="T1" fmla="*/ 26 h 92"/>
                    <a:gd name="T2" fmla="*/ 46 w 358"/>
                    <a:gd name="T3" fmla="*/ 3 h 92"/>
                    <a:gd name="T4" fmla="*/ 358 w 358"/>
                    <a:gd name="T5" fmla="*/ 9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92">
                      <a:moveTo>
                        <a:pt x="0" y="26"/>
                      </a:moveTo>
                      <a:cubicBezTo>
                        <a:pt x="11" y="9"/>
                        <a:pt x="31" y="5"/>
                        <a:pt x="46" y="3"/>
                      </a:cubicBezTo>
                      <a:cubicBezTo>
                        <a:pt x="70" y="0"/>
                        <a:pt x="182" y="11"/>
                        <a:pt x="358" y="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3" name="Freeform 34"/>
                <p:cNvSpPr>
                  <a:spLocks/>
                </p:cNvSpPr>
                <p:nvPr/>
              </p:nvSpPr>
              <p:spPr bwMode="auto">
                <a:xfrm>
                  <a:off x="1671" y="2417"/>
                  <a:ext cx="723" cy="126"/>
                </a:xfrm>
                <a:custGeom>
                  <a:avLst/>
                  <a:gdLst>
                    <a:gd name="T0" fmla="*/ 0 w 358"/>
                    <a:gd name="T1" fmla="*/ 18 h 63"/>
                    <a:gd name="T2" fmla="*/ 46 w 358"/>
                    <a:gd name="T3" fmla="*/ 2 h 63"/>
                    <a:gd name="T4" fmla="*/ 358 w 358"/>
                    <a:gd name="T5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63">
                      <a:moveTo>
                        <a:pt x="0" y="18"/>
                      </a:moveTo>
                      <a:cubicBezTo>
                        <a:pt x="11" y="6"/>
                        <a:pt x="31" y="3"/>
                        <a:pt x="46" y="2"/>
                      </a:cubicBezTo>
                      <a:cubicBezTo>
                        <a:pt x="70" y="0"/>
                        <a:pt x="182" y="7"/>
                        <a:pt x="358" y="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4" name="Freeform 35"/>
                <p:cNvSpPr>
                  <a:spLocks/>
                </p:cNvSpPr>
                <p:nvPr/>
              </p:nvSpPr>
              <p:spPr bwMode="auto">
                <a:xfrm>
                  <a:off x="1671" y="2574"/>
                  <a:ext cx="723" cy="90"/>
                </a:xfrm>
                <a:custGeom>
                  <a:avLst/>
                  <a:gdLst>
                    <a:gd name="T0" fmla="*/ 0 w 358"/>
                    <a:gd name="T1" fmla="*/ 13 h 45"/>
                    <a:gd name="T2" fmla="*/ 46 w 358"/>
                    <a:gd name="T3" fmla="*/ 1 h 45"/>
                    <a:gd name="T4" fmla="*/ 358 w 358"/>
                    <a:gd name="T5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45">
                      <a:moveTo>
                        <a:pt x="0" y="13"/>
                      </a:moveTo>
                      <a:cubicBezTo>
                        <a:pt x="11" y="4"/>
                        <a:pt x="31" y="2"/>
                        <a:pt x="46" y="1"/>
                      </a:cubicBezTo>
                      <a:cubicBezTo>
                        <a:pt x="70" y="0"/>
                        <a:pt x="182" y="5"/>
                        <a:pt x="358" y="4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5" name="Freeform 36"/>
                <p:cNvSpPr>
                  <a:spLocks/>
                </p:cNvSpPr>
                <p:nvPr/>
              </p:nvSpPr>
              <p:spPr bwMode="auto">
                <a:xfrm>
                  <a:off x="1671" y="2706"/>
                  <a:ext cx="723" cy="63"/>
                </a:xfrm>
                <a:custGeom>
                  <a:avLst/>
                  <a:gdLst>
                    <a:gd name="T0" fmla="*/ 0 w 358"/>
                    <a:gd name="T1" fmla="*/ 9 h 31"/>
                    <a:gd name="T2" fmla="*/ 46 w 358"/>
                    <a:gd name="T3" fmla="*/ 1 h 31"/>
                    <a:gd name="T4" fmla="*/ 358 w 358"/>
                    <a:gd name="T5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31">
                      <a:moveTo>
                        <a:pt x="0" y="9"/>
                      </a:moveTo>
                      <a:cubicBezTo>
                        <a:pt x="11" y="3"/>
                        <a:pt x="31" y="2"/>
                        <a:pt x="46" y="1"/>
                      </a:cubicBezTo>
                      <a:cubicBezTo>
                        <a:pt x="70" y="0"/>
                        <a:pt x="182" y="4"/>
                        <a:pt x="358" y="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6" name="Freeform 37"/>
                <p:cNvSpPr>
                  <a:spLocks/>
                </p:cNvSpPr>
                <p:nvPr/>
              </p:nvSpPr>
              <p:spPr bwMode="auto">
                <a:xfrm>
                  <a:off x="1671" y="2861"/>
                  <a:ext cx="723" cy="24"/>
                </a:xfrm>
                <a:custGeom>
                  <a:avLst/>
                  <a:gdLst>
                    <a:gd name="T0" fmla="*/ 0 w 358"/>
                    <a:gd name="T1" fmla="*/ 3 h 12"/>
                    <a:gd name="T2" fmla="*/ 46 w 358"/>
                    <a:gd name="T3" fmla="*/ 1 h 12"/>
                    <a:gd name="T4" fmla="*/ 358 w 358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2">
                      <a:moveTo>
                        <a:pt x="0" y="3"/>
                      </a:moveTo>
                      <a:cubicBezTo>
                        <a:pt x="11" y="1"/>
                        <a:pt x="31" y="1"/>
                        <a:pt x="46" y="1"/>
                      </a:cubicBezTo>
                      <a:cubicBezTo>
                        <a:pt x="70" y="0"/>
                        <a:pt x="182" y="2"/>
                        <a:pt x="358" y="1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7" name="Freeform 38"/>
                <p:cNvSpPr>
                  <a:spLocks/>
                </p:cNvSpPr>
                <p:nvPr/>
              </p:nvSpPr>
              <p:spPr bwMode="auto">
                <a:xfrm>
                  <a:off x="1671" y="2986"/>
                  <a:ext cx="723" cy="22"/>
                </a:xfrm>
                <a:custGeom>
                  <a:avLst/>
                  <a:gdLst>
                    <a:gd name="T0" fmla="*/ 0 w 358"/>
                    <a:gd name="T1" fmla="*/ 8 h 11"/>
                    <a:gd name="T2" fmla="*/ 46 w 358"/>
                    <a:gd name="T3" fmla="*/ 11 h 11"/>
                    <a:gd name="T4" fmla="*/ 358 w 358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11">
                      <a:moveTo>
                        <a:pt x="0" y="8"/>
                      </a:moveTo>
                      <a:cubicBezTo>
                        <a:pt x="11" y="10"/>
                        <a:pt x="31" y="11"/>
                        <a:pt x="46" y="11"/>
                      </a:cubicBezTo>
                      <a:cubicBezTo>
                        <a:pt x="70" y="11"/>
                        <a:pt x="182" y="10"/>
                        <a:pt x="35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8" name="Freeform 39"/>
                <p:cNvSpPr>
                  <a:spLocks/>
                </p:cNvSpPr>
                <p:nvPr/>
              </p:nvSpPr>
              <p:spPr bwMode="auto">
                <a:xfrm>
                  <a:off x="1671" y="3107"/>
                  <a:ext cx="723" cy="50"/>
                </a:xfrm>
                <a:custGeom>
                  <a:avLst/>
                  <a:gdLst>
                    <a:gd name="T0" fmla="*/ 0 w 358"/>
                    <a:gd name="T1" fmla="*/ 17 h 25"/>
                    <a:gd name="T2" fmla="*/ 46 w 358"/>
                    <a:gd name="T3" fmla="*/ 24 h 25"/>
                    <a:gd name="T4" fmla="*/ 358 w 358"/>
                    <a:gd name="T5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25">
                      <a:moveTo>
                        <a:pt x="0" y="17"/>
                      </a:moveTo>
                      <a:cubicBezTo>
                        <a:pt x="11" y="22"/>
                        <a:pt x="31" y="23"/>
                        <a:pt x="46" y="24"/>
                      </a:cubicBezTo>
                      <a:cubicBezTo>
                        <a:pt x="70" y="25"/>
                        <a:pt x="182" y="22"/>
                        <a:pt x="35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59" name="Freeform 40"/>
                <p:cNvSpPr>
                  <a:spLocks/>
                </p:cNvSpPr>
                <p:nvPr/>
              </p:nvSpPr>
              <p:spPr bwMode="auto">
                <a:xfrm>
                  <a:off x="1671" y="3208"/>
                  <a:ext cx="723" cy="74"/>
                </a:xfrm>
                <a:custGeom>
                  <a:avLst/>
                  <a:gdLst>
                    <a:gd name="T0" fmla="*/ 0 w 358"/>
                    <a:gd name="T1" fmla="*/ 26 h 37"/>
                    <a:gd name="T2" fmla="*/ 46 w 358"/>
                    <a:gd name="T3" fmla="*/ 36 h 37"/>
                    <a:gd name="T4" fmla="*/ 358 w 358"/>
                    <a:gd name="T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37">
                      <a:moveTo>
                        <a:pt x="0" y="26"/>
                      </a:moveTo>
                      <a:cubicBezTo>
                        <a:pt x="11" y="33"/>
                        <a:pt x="31" y="35"/>
                        <a:pt x="46" y="36"/>
                      </a:cubicBezTo>
                      <a:cubicBezTo>
                        <a:pt x="70" y="37"/>
                        <a:pt x="182" y="33"/>
                        <a:pt x="35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0" name="Freeform 41"/>
                <p:cNvSpPr>
                  <a:spLocks/>
                </p:cNvSpPr>
                <p:nvPr/>
              </p:nvSpPr>
              <p:spPr bwMode="auto">
                <a:xfrm>
                  <a:off x="1671" y="3318"/>
                  <a:ext cx="723" cy="109"/>
                </a:xfrm>
                <a:custGeom>
                  <a:avLst/>
                  <a:gdLst>
                    <a:gd name="T0" fmla="*/ 0 w 358"/>
                    <a:gd name="T1" fmla="*/ 38 h 54"/>
                    <a:gd name="T2" fmla="*/ 46 w 358"/>
                    <a:gd name="T3" fmla="*/ 52 h 54"/>
                    <a:gd name="T4" fmla="*/ 358 w 358"/>
                    <a:gd name="T5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54">
                      <a:moveTo>
                        <a:pt x="0" y="38"/>
                      </a:moveTo>
                      <a:cubicBezTo>
                        <a:pt x="11" y="48"/>
                        <a:pt x="31" y="51"/>
                        <a:pt x="46" y="52"/>
                      </a:cubicBezTo>
                      <a:cubicBezTo>
                        <a:pt x="70" y="54"/>
                        <a:pt x="182" y="47"/>
                        <a:pt x="35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1" name="Freeform 42"/>
                <p:cNvSpPr>
                  <a:spLocks/>
                </p:cNvSpPr>
                <p:nvPr/>
              </p:nvSpPr>
              <p:spPr bwMode="auto">
                <a:xfrm>
                  <a:off x="1671" y="3433"/>
                  <a:ext cx="723" cy="129"/>
                </a:xfrm>
                <a:custGeom>
                  <a:avLst/>
                  <a:gdLst>
                    <a:gd name="T0" fmla="*/ 0 w 358"/>
                    <a:gd name="T1" fmla="*/ 46 h 64"/>
                    <a:gd name="T2" fmla="*/ 46 w 358"/>
                    <a:gd name="T3" fmla="*/ 62 h 64"/>
                    <a:gd name="T4" fmla="*/ 358 w 358"/>
                    <a:gd name="T5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8" h="64">
                      <a:moveTo>
                        <a:pt x="0" y="46"/>
                      </a:moveTo>
                      <a:cubicBezTo>
                        <a:pt x="11" y="58"/>
                        <a:pt x="31" y="61"/>
                        <a:pt x="46" y="62"/>
                      </a:cubicBezTo>
                      <a:cubicBezTo>
                        <a:pt x="70" y="64"/>
                        <a:pt x="182" y="57"/>
                        <a:pt x="358" y="0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2" name="Freeform 43"/>
                <p:cNvSpPr>
                  <a:spLocks/>
                </p:cNvSpPr>
                <p:nvPr/>
              </p:nvSpPr>
              <p:spPr bwMode="auto">
                <a:xfrm>
                  <a:off x="1671" y="712"/>
                  <a:ext cx="723" cy="3003"/>
                </a:xfrm>
                <a:custGeom>
                  <a:avLst/>
                  <a:gdLst>
                    <a:gd name="T0" fmla="*/ 0 w 358"/>
                    <a:gd name="T1" fmla="*/ 1492 h 1492"/>
                    <a:gd name="T2" fmla="*/ 0 w 358"/>
                    <a:gd name="T3" fmla="*/ 60 h 1492"/>
                    <a:gd name="T4" fmla="*/ 46 w 358"/>
                    <a:gd name="T5" fmla="*/ 7 h 1492"/>
                    <a:gd name="T6" fmla="*/ 358 w 358"/>
                    <a:gd name="T7" fmla="*/ 208 h 1492"/>
                    <a:gd name="T8" fmla="*/ 357 w 358"/>
                    <a:gd name="T9" fmla="*/ 1427 h 1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8" h="1492">
                      <a:moveTo>
                        <a:pt x="0" y="1492"/>
                      </a:moveTo>
                      <a:cubicBezTo>
                        <a:pt x="0" y="1492"/>
                        <a:pt x="0" y="129"/>
                        <a:pt x="0" y="60"/>
                      </a:cubicBezTo>
                      <a:cubicBezTo>
                        <a:pt x="11" y="21"/>
                        <a:pt x="31" y="11"/>
                        <a:pt x="46" y="7"/>
                      </a:cubicBezTo>
                      <a:cubicBezTo>
                        <a:pt x="70" y="0"/>
                        <a:pt x="182" y="25"/>
                        <a:pt x="358" y="208"/>
                      </a:cubicBezTo>
                      <a:cubicBezTo>
                        <a:pt x="358" y="208"/>
                        <a:pt x="358" y="1426"/>
                        <a:pt x="357" y="1427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3" name="Freeform 44"/>
                <p:cNvSpPr>
                  <a:spLocks/>
                </p:cNvSpPr>
                <p:nvPr/>
              </p:nvSpPr>
              <p:spPr bwMode="auto">
                <a:xfrm>
                  <a:off x="1671" y="712"/>
                  <a:ext cx="723" cy="3003"/>
                </a:xfrm>
                <a:custGeom>
                  <a:avLst/>
                  <a:gdLst>
                    <a:gd name="T0" fmla="*/ 0 w 358"/>
                    <a:gd name="T1" fmla="*/ 1492 h 1492"/>
                    <a:gd name="T2" fmla="*/ 0 w 358"/>
                    <a:gd name="T3" fmla="*/ 60 h 1492"/>
                    <a:gd name="T4" fmla="*/ 46 w 358"/>
                    <a:gd name="T5" fmla="*/ 7 h 1492"/>
                    <a:gd name="T6" fmla="*/ 358 w 358"/>
                    <a:gd name="T7" fmla="*/ 208 h 1492"/>
                    <a:gd name="T8" fmla="*/ 357 w 358"/>
                    <a:gd name="T9" fmla="*/ 1427 h 1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8" h="1492">
                      <a:moveTo>
                        <a:pt x="0" y="1492"/>
                      </a:moveTo>
                      <a:cubicBezTo>
                        <a:pt x="0" y="1492"/>
                        <a:pt x="0" y="129"/>
                        <a:pt x="0" y="60"/>
                      </a:cubicBezTo>
                      <a:cubicBezTo>
                        <a:pt x="11" y="21"/>
                        <a:pt x="31" y="11"/>
                        <a:pt x="46" y="7"/>
                      </a:cubicBezTo>
                      <a:cubicBezTo>
                        <a:pt x="70" y="0"/>
                        <a:pt x="182" y="25"/>
                        <a:pt x="358" y="208"/>
                      </a:cubicBezTo>
                      <a:cubicBezTo>
                        <a:pt x="358" y="208"/>
                        <a:pt x="358" y="1426"/>
                        <a:pt x="357" y="1427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4" name="Freeform 45"/>
                <p:cNvSpPr>
                  <a:spLocks/>
                </p:cNvSpPr>
                <p:nvPr/>
              </p:nvSpPr>
              <p:spPr bwMode="auto">
                <a:xfrm>
                  <a:off x="1671" y="3584"/>
                  <a:ext cx="721" cy="187"/>
                </a:xfrm>
                <a:custGeom>
                  <a:avLst/>
                  <a:gdLst>
                    <a:gd name="T0" fmla="*/ 0 w 357"/>
                    <a:gd name="T1" fmla="*/ 65 h 93"/>
                    <a:gd name="T2" fmla="*/ 45 w 357"/>
                    <a:gd name="T3" fmla="*/ 90 h 93"/>
                    <a:gd name="T4" fmla="*/ 357 w 357"/>
                    <a:gd name="T5" fmla="*/ 0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7" h="93">
                      <a:moveTo>
                        <a:pt x="0" y="65"/>
                      </a:moveTo>
                      <a:cubicBezTo>
                        <a:pt x="11" y="82"/>
                        <a:pt x="30" y="88"/>
                        <a:pt x="45" y="90"/>
                      </a:cubicBezTo>
                      <a:cubicBezTo>
                        <a:pt x="70" y="93"/>
                        <a:pt x="181" y="82"/>
                        <a:pt x="357" y="0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5" name="Freeform 47"/>
                <p:cNvSpPr>
                  <a:spLocks/>
                </p:cNvSpPr>
                <p:nvPr/>
              </p:nvSpPr>
              <p:spPr bwMode="auto">
                <a:xfrm>
                  <a:off x="1596" y="1207"/>
                  <a:ext cx="75" cy="54"/>
                </a:xfrm>
                <a:custGeom>
                  <a:avLst/>
                  <a:gdLst>
                    <a:gd name="T0" fmla="*/ 0 w 37"/>
                    <a:gd name="T1" fmla="*/ 0 h 27"/>
                    <a:gd name="T2" fmla="*/ 37 w 37"/>
                    <a:gd name="T3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7">
                      <a:moveTo>
                        <a:pt x="0" y="0"/>
                      </a:moveTo>
                      <a:cubicBezTo>
                        <a:pt x="0" y="0"/>
                        <a:pt x="12" y="16"/>
                        <a:pt x="37" y="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6" name="Freeform 48"/>
                <p:cNvSpPr>
                  <a:spLocks/>
                </p:cNvSpPr>
                <p:nvPr/>
              </p:nvSpPr>
              <p:spPr bwMode="auto">
                <a:xfrm>
                  <a:off x="1596" y="1339"/>
                  <a:ext cx="75" cy="48"/>
                </a:xfrm>
                <a:custGeom>
                  <a:avLst/>
                  <a:gdLst>
                    <a:gd name="T0" fmla="*/ 0 w 37"/>
                    <a:gd name="T1" fmla="*/ 0 h 24"/>
                    <a:gd name="T2" fmla="*/ 37 w 37"/>
                    <a:gd name="T3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4">
                      <a:moveTo>
                        <a:pt x="0" y="0"/>
                      </a:moveTo>
                      <a:cubicBezTo>
                        <a:pt x="0" y="0"/>
                        <a:pt x="12" y="14"/>
                        <a:pt x="37" y="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7" name="Freeform 49"/>
                <p:cNvSpPr>
                  <a:spLocks/>
                </p:cNvSpPr>
                <p:nvPr/>
              </p:nvSpPr>
              <p:spPr bwMode="auto">
                <a:xfrm>
                  <a:off x="1596" y="1485"/>
                  <a:ext cx="75" cy="43"/>
                </a:xfrm>
                <a:custGeom>
                  <a:avLst/>
                  <a:gdLst>
                    <a:gd name="T0" fmla="*/ 0 w 37"/>
                    <a:gd name="T1" fmla="*/ 0 h 21"/>
                    <a:gd name="T2" fmla="*/ 37 w 37"/>
                    <a:gd name="T3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1">
                      <a:moveTo>
                        <a:pt x="0" y="0"/>
                      </a:moveTo>
                      <a:cubicBezTo>
                        <a:pt x="0" y="0"/>
                        <a:pt x="12" y="12"/>
                        <a:pt x="37" y="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8" name="Freeform 50"/>
                <p:cNvSpPr>
                  <a:spLocks/>
                </p:cNvSpPr>
                <p:nvPr/>
              </p:nvSpPr>
              <p:spPr bwMode="auto">
                <a:xfrm>
                  <a:off x="1596" y="1609"/>
                  <a:ext cx="75" cy="43"/>
                </a:xfrm>
                <a:custGeom>
                  <a:avLst/>
                  <a:gdLst>
                    <a:gd name="T0" fmla="*/ 0 w 37"/>
                    <a:gd name="T1" fmla="*/ 0 h 21"/>
                    <a:gd name="T2" fmla="*/ 37 w 37"/>
                    <a:gd name="T3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1">
                      <a:moveTo>
                        <a:pt x="0" y="0"/>
                      </a:moveTo>
                      <a:cubicBezTo>
                        <a:pt x="0" y="0"/>
                        <a:pt x="12" y="12"/>
                        <a:pt x="37" y="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69" name="Freeform 51"/>
                <p:cNvSpPr>
                  <a:spLocks/>
                </p:cNvSpPr>
                <p:nvPr/>
              </p:nvSpPr>
              <p:spPr bwMode="auto">
                <a:xfrm>
                  <a:off x="1596" y="1744"/>
                  <a:ext cx="75" cy="42"/>
                </a:xfrm>
                <a:custGeom>
                  <a:avLst/>
                  <a:gdLst>
                    <a:gd name="T0" fmla="*/ 0 w 37"/>
                    <a:gd name="T1" fmla="*/ 0 h 21"/>
                    <a:gd name="T2" fmla="*/ 37 w 37"/>
                    <a:gd name="T3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1">
                      <a:moveTo>
                        <a:pt x="0" y="0"/>
                      </a:moveTo>
                      <a:cubicBezTo>
                        <a:pt x="0" y="0"/>
                        <a:pt x="12" y="12"/>
                        <a:pt x="37" y="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0" name="Freeform 52"/>
                <p:cNvSpPr>
                  <a:spLocks/>
                </p:cNvSpPr>
                <p:nvPr/>
              </p:nvSpPr>
              <p:spPr bwMode="auto">
                <a:xfrm>
                  <a:off x="1596" y="1873"/>
                  <a:ext cx="75" cy="42"/>
                </a:xfrm>
                <a:custGeom>
                  <a:avLst/>
                  <a:gdLst>
                    <a:gd name="T0" fmla="*/ 0 w 37"/>
                    <a:gd name="T1" fmla="*/ 0 h 21"/>
                    <a:gd name="T2" fmla="*/ 37 w 37"/>
                    <a:gd name="T3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1">
                      <a:moveTo>
                        <a:pt x="0" y="0"/>
                      </a:moveTo>
                      <a:cubicBezTo>
                        <a:pt x="0" y="0"/>
                        <a:pt x="12" y="12"/>
                        <a:pt x="37" y="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1" name="Freeform 53"/>
                <p:cNvSpPr>
                  <a:spLocks/>
                </p:cNvSpPr>
                <p:nvPr/>
              </p:nvSpPr>
              <p:spPr bwMode="auto">
                <a:xfrm>
                  <a:off x="1596" y="2000"/>
                  <a:ext cx="75" cy="40"/>
                </a:xfrm>
                <a:custGeom>
                  <a:avLst/>
                  <a:gdLst>
                    <a:gd name="T0" fmla="*/ 0 w 37"/>
                    <a:gd name="T1" fmla="*/ 0 h 20"/>
                    <a:gd name="T2" fmla="*/ 37 w 37"/>
                    <a:gd name="T3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0">
                      <a:moveTo>
                        <a:pt x="0" y="0"/>
                      </a:moveTo>
                      <a:cubicBezTo>
                        <a:pt x="0" y="0"/>
                        <a:pt x="12" y="11"/>
                        <a:pt x="37" y="2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2" name="Freeform 54"/>
                <p:cNvSpPr>
                  <a:spLocks/>
                </p:cNvSpPr>
                <p:nvPr/>
              </p:nvSpPr>
              <p:spPr bwMode="auto">
                <a:xfrm>
                  <a:off x="1596" y="2141"/>
                  <a:ext cx="75" cy="28"/>
                </a:xfrm>
                <a:custGeom>
                  <a:avLst/>
                  <a:gdLst>
                    <a:gd name="T0" fmla="*/ 0 w 37"/>
                    <a:gd name="T1" fmla="*/ 0 h 14"/>
                    <a:gd name="T2" fmla="*/ 37 w 37"/>
                    <a:gd name="T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4">
                      <a:moveTo>
                        <a:pt x="0" y="0"/>
                      </a:moveTo>
                      <a:cubicBezTo>
                        <a:pt x="0" y="0"/>
                        <a:pt x="12" y="8"/>
                        <a:pt x="37" y="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3" name="Freeform 55"/>
                <p:cNvSpPr>
                  <a:spLocks/>
                </p:cNvSpPr>
                <p:nvPr/>
              </p:nvSpPr>
              <p:spPr bwMode="auto">
                <a:xfrm>
                  <a:off x="1596" y="2288"/>
                  <a:ext cx="75" cy="24"/>
                </a:xfrm>
                <a:custGeom>
                  <a:avLst/>
                  <a:gdLst>
                    <a:gd name="T0" fmla="*/ 0 w 37"/>
                    <a:gd name="T1" fmla="*/ 0 h 12"/>
                    <a:gd name="T2" fmla="*/ 37 w 37"/>
                    <a:gd name="T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2">
                      <a:moveTo>
                        <a:pt x="0" y="0"/>
                      </a:moveTo>
                      <a:cubicBezTo>
                        <a:pt x="0" y="0"/>
                        <a:pt x="12" y="7"/>
                        <a:pt x="37" y="1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4" name="Freeform 56"/>
                <p:cNvSpPr>
                  <a:spLocks/>
                </p:cNvSpPr>
                <p:nvPr/>
              </p:nvSpPr>
              <p:spPr bwMode="auto">
                <a:xfrm>
                  <a:off x="1596" y="2423"/>
                  <a:ext cx="75" cy="22"/>
                </a:xfrm>
                <a:custGeom>
                  <a:avLst/>
                  <a:gdLst>
                    <a:gd name="T0" fmla="*/ 0 w 37"/>
                    <a:gd name="T1" fmla="*/ 0 h 11"/>
                    <a:gd name="T2" fmla="*/ 37 w 37"/>
                    <a:gd name="T3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1">
                      <a:moveTo>
                        <a:pt x="0" y="0"/>
                      </a:moveTo>
                      <a:cubicBezTo>
                        <a:pt x="0" y="0"/>
                        <a:pt x="12" y="6"/>
                        <a:pt x="37" y="1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5" name="Freeform 57"/>
                <p:cNvSpPr>
                  <a:spLocks/>
                </p:cNvSpPr>
                <p:nvPr/>
              </p:nvSpPr>
              <p:spPr bwMode="auto">
                <a:xfrm>
                  <a:off x="1596" y="2572"/>
                  <a:ext cx="75" cy="14"/>
                </a:xfrm>
                <a:custGeom>
                  <a:avLst/>
                  <a:gdLst>
                    <a:gd name="T0" fmla="*/ 0 w 37"/>
                    <a:gd name="T1" fmla="*/ 0 h 7"/>
                    <a:gd name="T2" fmla="*/ 37 w 37"/>
                    <a:gd name="T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7">
                      <a:moveTo>
                        <a:pt x="0" y="0"/>
                      </a:moveTo>
                      <a:cubicBezTo>
                        <a:pt x="0" y="0"/>
                        <a:pt x="12" y="4"/>
                        <a:pt x="37" y="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6" name="Freeform 58"/>
                <p:cNvSpPr>
                  <a:spLocks/>
                </p:cNvSpPr>
                <p:nvPr/>
              </p:nvSpPr>
              <p:spPr bwMode="auto">
                <a:xfrm>
                  <a:off x="1596" y="2720"/>
                  <a:ext cx="75" cy="11"/>
                </a:xfrm>
                <a:custGeom>
                  <a:avLst/>
                  <a:gdLst>
                    <a:gd name="T0" fmla="*/ 0 w 37"/>
                    <a:gd name="T1" fmla="*/ 0 h 5"/>
                    <a:gd name="T2" fmla="*/ 37 w 37"/>
                    <a:gd name="T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5">
                      <a:moveTo>
                        <a:pt x="0" y="0"/>
                      </a:moveTo>
                      <a:cubicBezTo>
                        <a:pt x="0" y="0"/>
                        <a:pt x="12" y="3"/>
                        <a:pt x="37" y="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7" name="Freeform 59"/>
                <p:cNvSpPr>
                  <a:spLocks/>
                </p:cNvSpPr>
                <p:nvPr/>
              </p:nvSpPr>
              <p:spPr bwMode="auto">
                <a:xfrm>
                  <a:off x="1596" y="2857"/>
                  <a:ext cx="75" cy="8"/>
                </a:xfrm>
                <a:custGeom>
                  <a:avLst/>
                  <a:gdLst>
                    <a:gd name="T0" fmla="*/ 0 w 37"/>
                    <a:gd name="T1" fmla="*/ 0 h 4"/>
                    <a:gd name="T2" fmla="*/ 37 w 37"/>
                    <a:gd name="T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4">
                      <a:moveTo>
                        <a:pt x="0" y="0"/>
                      </a:moveTo>
                      <a:cubicBezTo>
                        <a:pt x="0" y="0"/>
                        <a:pt x="12" y="2"/>
                        <a:pt x="37" y="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8" name="Freeform 60"/>
                <p:cNvSpPr>
                  <a:spLocks/>
                </p:cNvSpPr>
                <p:nvPr/>
              </p:nvSpPr>
              <p:spPr bwMode="auto">
                <a:xfrm>
                  <a:off x="1596" y="3002"/>
                  <a:ext cx="75" cy="2"/>
                </a:xfrm>
                <a:custGeom>
                  <a:avLst/>
                  <a:gdLst>
                    <a:gd name="T0" fmla="*/ 0 w 37"/>
                    <a:gd name="T1" fmla="*/ 0 h 1"/>
                    <a:gd name="T2" fmla="*/ 37 w 37"/>
                    <a:gd name="T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">
                      <a:moveTo>
                        <a:pt x="0" y="0"/>
                      </a:moveTo>
                      <a:cubicBezTo>
                        <a:pt x="0" y="0"/>
                        <a:pt x="12" y="0"/>
                        <a:pt x="37" y="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79" name="Freeform 61"/>
                <p:cNvSpPr>
                  <a:spLocks/>
                </p:cNvSpPr>
                <p:nvPr/>
              </p:nvSpPr>
              <p:spPr bwMode="auto">
                <a:xfrm>
                  <a:off x="1596" y="3147"/>
                  <a:ext cx="75" cy="2"/>
                </a:xfrm>
                <a:custGeom>
                  <a:avLst/>
                  <a:gdLst>
                    <a:gd name="T0" fmla="*/ 0 w 37"/>
                    <a:gd name="T1" fmla="*/ 1 h 1"/>
                    <a:gd name="T2" fmla="*/ 37 w 37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">
                      <a:moveTo>
                        <a:pt x="0" y="1"/>
                      </a:moveTo>
                      <a:cubicBezTo>
                        <a:pt x="0" y="1"/>
                        <a:pt x="12" y="0"/>
                        <a:pt x="3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0" name="Freeform 62"/>
                <p:cNvSpPr>
                  <a:spLocks/>
                </p:cNvSpPr>
                <p:nvPr/>
              </p:nvSpPr>
              <p:spPr bwMode="auto">
                <a:xfrm>
                  <a:off x="1596" y="3260"/>
                  <a:ext cx="75" cy="2"/>
                </a:xfrm>
                <a:custGeom>
                  <a:avLst/>
                  <a:gdLst>
                    <a:gd name="T0" fmla="*/ 0 w 37"/>
                    <a:gd name="T1" fmla="*/ 1 h 1"/>
                    <a:gd name="T2" fmla="*/ 37 w 37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1">
                      <a:moveTo>
                        <a:pt x="0" y="1"/>
                      </a:moveTo>
                      <a:cubicBezTo>
                        <a:pt x="0" y="1"/>
                        <a:pt x="12" y="0"/>
                        <a:pt x="3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1" name="Freeform 63"/>
                <p:cNvSpPr>
                  <a:spLocks/>
                </p:cNvSpPr>
                <p:nvPr/>
              </p:nvSpPr>
              <p:spPr bwMode="auto">
                <a:xfrm>
                  <a:off x="1596" y="3393"/>
                  <a:ext cx="75" cy="8"/>
                </a:xfrm>
                <a:custGeom>
                  <a:avLst/>
                  <a:gdLst>
                    <a:gd name="T0" fmla="*/ 0 w 37"/>
                    <a:gd name="T1" fmla="*/ 4 h 4"/>
                    <a:gd name="T2" fmla="*/ 37 w 37"/>
                    <a:gd name="T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cubicBezTo>
                        <a:pt x="0" y="4"/>
                        <a:pt x="12" y="2"/>
                        <a:pt x="3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2" name="Freeform 64"/>
                <p:cNvSpPr>
                  <a:spLocks/>
                </p:cNvSpPr>
                <p:nvPr/>
              </p:nvSpPr>
              <p:spPr bwMode="auto">
                <a:xfrm>
                  <a:off x="1422" y="1400"/>
                  <a:ext cx="97" cy="71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3" name="Freeform 65"/>
                <p:cNvSpPr>
                  <a:spLocks/>
                </p:cNvSpPr>
                <p:nvPr/>
              </p:nvSpPr>
              <p:spPr bwMode="auto">
                <a:xfrm>
                  <a:off x="1422" y="1551"/>
                  <a:ext cx="97" cy="59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4" name="Freeform 66"/>
                <p:cNvSpPr>
                  <a:spLocks/>
                </p:cNvSpPr>
                <p:nvPr/>
              </p:nvSpPr>
              <p:spPr bwMode="auto">
                <a:xfrm>
                  <a:off x="1422" y="1827"/>
                  <a:ext cx="97" cy="53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5" name="Freeform 67"/>
                <p:cNvSpPr>
                  <a:spLocks/>
                </p:cNvSpPr>
                <p:nvPr/>
              </p:nvSpPr>
              <p:spPr bwMode="auto">
                <a:xfrm>
                  <a:off x="1422" y="1960"/>
                  <a:ext cx="97" cy="59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6" name="Freeform 68"/>
                <p:cNvSpPr>
                  <a:spLocks/>
                </p:cNvSpPr>
                <p:nvPr/>
              </p:nvSpPr>
              <p:spPr bwMode="auto">
                <a:xfrm>
                  <a:off x="1422" y="2099"/>
                  <a:ext cx="97" cy="57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7" name="Freeform 69"/>
                <p:cNvSpPr>
                  <a:spLocks/>
                </p:cNvSpPr>
                <p:nvPr/>
              </p:nvSpPr>
              <p:spPr bwMode="auto">
                <a:xfrm>
                  <a:off x="1422" y="2235"/>
                  <a:ext cx="97" cy="51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8" name="Freeform 70"/>
                <p:cNvSpPr>
                  <a:spLocks/>
                </p:cNvSpPr>
                <p:nvPr/>
              </p:nvSpPr>
              <p:spPr bwMode="auto">
                <a:xfrm>
                  <a:off x="1422" y="1689"/>
                  <a:ext cx="97" cy="58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89" name="Freeform 71"/>
                <p:cNvSpPr>
                  <a:spLocks/>
                </p:cNvSpPr>
                <p:nvPr/>
              </p:nvSpPr>
              <p:spPr bwMode="auto">
                <a:xfrm>
                  <a:off x="1339" y="1573"/>
                  <a:ext cx="49" cy="1820"/>
                </a:xfrm>
                <a:custGeom>
                  <a:avLst/>
                  <a:gdLst>
                    <a:gd name="T0" fmla="*/ 0 w 24"/>
                    <a:gd name="T1" fmla="*/ 0 h 904"/>
                    <a:gd name="T2" fmla="*/ 24 w 24"/>
                    <a:gd name="T3" fmla="*/ 22 h 904"/>
                    <a:gd name="T4" fmla="*/ 24 w 24"/>
                    <a:gd name="T5" fmla="*/ 904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904">
                      <a:moveTo>
                        <a:pt x="0" y="0"/>
                      </a:moveTo>
                      <a:cubicBezTo>
                        <a:pt x="0" y="0"/>
                        <a:pt x="2" y="7"/>
                        <a:pt x="24" y="22"/>
                      </a:cubicBezTo>
                      <a:cubicBezTo>
                        <a:pt x="24" y="904"/>
                        <a:pt x="24" y="904"/>
                        <a:pt x="24" y="904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0" name="Freeform 72"/>
                <p:cNvSpPr>
                  <a:spLocks/>
                </p:cNvSpPr>
                <p:nvPr/>
              </p:nvSpPr>
              <p:spPr bwMode="auto">
                <a:xfrm>
                  <a:off x="1338" y="1662"/>
                  <a:ext cx="53" cy="44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5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1" name="Freeform 74"/>
                <p:cNvSpPr>
                  <a:spLocks/>
                </p:cNvSpPr>
                <p:nvPr/>
              </p:nvSpPr>
              <p:spPr bwMode="auto">
                <a:xfrm>
                  <a:off x="1338" y="1797"/>
                  <a:ext cx="53" cy="46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2" name="Freeform 75"/>
                <p:cNvSpPr>
                  <a:spLocks/>
                </p:cNvSpPr>
                <p:nvPr/>
              </p:nvSpPr>
              <p:spPr bwMode="auto">
                <a:xfrm>
                  <a:off x="1338" y="1933"/>
                  <a:ext cx="53" cy="46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3" name="Freeform 76"/>
                <p:cNvSpPr>
                  <a:spLocks/>
                </p:cNvSpPr>
                <p:nvPr/>
              </p:nvSpPr>
              <p:spPr bwMode="auto">
                <a:xfrm>
                  <a:off x="1338" y="2070"/>
                  <a:ext cx="53" cy="45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4" name="Line 77"/>
                <p:cNvSpPr>
                  <a:spLocks noChangeShapeType="1"/>
                </p:cNvSpPr>
                <p:nvPr/>
              </p:nvSpPr>
              <p:spPr bwMode="auto">
                <a:xfrm>
                  <a:off x="2372" y="1110"/>
                  <a:ext cx="0" cy="2484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5" name="Line 78"/>
                <p:cNvSpPr>
                  <a:spLocks noChangeShapeType="1"/>
                </p:cNvSpPr>
                <p:nvPr/>
              </p:nvSpPr>
              <p:spPr bwMode="auto">
                <a:xfrm flipV="1">
                  <a:off x="2345" y="1080"/>
                  <a:ext cx="0" cy="2524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6" name="Line 79"/>
                <p:cNvSpPr>
                  <a:spLocks noChangeShapeType="1"/>
                </p:cNvSpPr>
                <p:nvPr/>
              </p:nvSpPr>
              <p:spPr bwMode="auto">
                <a:xfrm>
                  <a:off x="2321" y="1058"/>
                  <a:ext cx="0" cy="2558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7" name="Line 80"/>
                <p:cNvSpPr>
                  <a:spLocks noChangeShapeType="1"/>
                </p:cNvSpPr>
                <p:nvPr/>
              </p:nvSpPr>
              <p:spPr bwMode="auto">
                <a:xfrm flipV="1">
                  <a:off x="2299" y="1038"/>
                  <a:ext cx="0" cy="2586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8" name="Line 81"/>
                <p:cNvSpPr>
                  <a:spLocks noChangeShapeType="1"/>
                </p:cNvSpPr>
                <p:nvPr/>
              </p:nvSpPr>
              <p:spPr bwMode="auto">
                <a:xfrm flipV="1">
                  <a:off x="2277" y="1016"/>
                  <a:ext cx="0" cy="2618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9" name="Line 82"/>
                <p:cNvSpPr>
                  <a:spLocks noChangeShapeType="1"/>
                </p:cNvSpPr>
                <p:nvPr/>
              </p:nvSpPr>
              <p:spPr bwMode="auto">
                <a:xfrm>
                  <a:off x="2250" y="994"/>
                  <a:ext cx="0" cy="2650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0" name="Line 83"/>
                <p:cNvSpPr>
                  <a:spLocks noChangeShapeType="1"/>
                </p:cNvSpPr>
                <p:nvPr/>
              </p:nvSpPr>
              <p:spPr bwMode="auto">
                <a:xfrm flipV="1">
                  <a:off x="2222" y="970"/>
                  <a:ext cx="0" cy="2686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1" name="Line 84"/>
                <p:cNvSpPr>
                  <a:spLocks noChangeShapeType="1"/>
                </p:cNvSpPr>
                <p:nvPr/>
              </p:nvSpPr>
              <p:spPr bwMode="auto">
                <a:xfrm>
                  <a:off x="2186" y="937"/>
                  <a:ext cx="0" cy="2733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2" name="Line 85"/>
                <p:cNvSpPr>
                  <a:spLocks noChangeShapeType="1"/>
                </p:cNvSpPr>
                <p:nvPr/>
              </p:nvSpPr>
              <p:spPr bwMode="auto">
                <a:xfrm flipV="1">
                  <a:off x="2145" y="907"/>
                  <a:ext cx="0" cy="2777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3" name="Line 86"/>
                <p:cNvSpPr>
                  <a:spLocks noChangeShapeType="1"/>
                </p:cNvSpPr>
                <p:nvPr/>
              </p:nvSpPr>
              <p:spPr bwMode="auto">
                <a:xfrm>
                  <a:off x="2103" y="873"/>
                  <a:ext cx="0" cy="2826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4" name="Line 87"/>
                <p:cNvSpPr>
                  <a:spLocks noChangeShapeType="1"/>
                </p:cNvSpPr>
                <p:nvPr/>
              </p:nvSpPr>
              <p:spPr bwMode="auto">
                <a:xfrm flipV="1">
                  <a:off x="2065" y="847"/>
                  <a:ext cx="0" cy="2864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5" name="Line 88"/>
                <p:cNvSpPr>
                  <a:spLocks noChangeShapeType="1"/>
                </p:cNvSpPr>
                <p:nvPr/>
              </p:nvSpPr>
              <p:spPr bwMode="auto">
                <a:xfrm>
                  <a:off x="2020" y="819"/>
                  <a:ext cx="0" cy="2904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6" name="Line 89"/>
                <p:cNvSpPr>
                  <a:spLocks noChangeShapeType="1"/>
                </p:cNvSpPr>
                <p:nvPr/>
              </p:nvSpPr>
              <p:spPr bwMode="auto">
                <a:xfrm flipV="1">
                  <a:off x="1986" y="794"/>
                  <a:ext cx="0" cy="2939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7" name="Line 90"/>
                <p:cNvSpPr>
                  <a:spLocks noChangeShapeType="1"/>
                </p:cNvSpPr>
                <p:nvPr/>
              </p:nvSpPr>
              <p:spPr bwMode="auto">
                <a:xfrm>
                  <a:off x="1939" y="772"/>
                  <a:ext cx="0" cy="2971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8" name="Line 91"/>
                <p:cNvSpPr>
                  <a:spLocks noChangeShapeType="1"/>
                </p:cNvSpPr>
                <p:nvPr/>
              </p:nvSpPr>
              <p:spPr bwMode="auto">
                <a:xfrm flipV="1">
                  <a:off x="1893" y="752"/>
                  <a:ext cx="0" cy="3001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9" name="Line 92"/>
                <p:cNvSpPr>
                  <a:spLocks noChangeShapeType="1"/>
                </p:cNvSpPr>
                <p:nvPr/>
              </p:nvSpPr>
              <p:spPr bwMode="auto">
                <a:xfrm>
                  <a:off x="1842" y="734"/>
                  <a:ext cx="0" cy="3027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0" name="Line 93"/>
                <p:cNvSpPr>
                  <a:spLocks noChangeShapeType="1"/>
                </p:cNvSpPr>
                <p:nvPr/>
              </p:nvSpPr>
              <p:spPr bwMode="auto">
                <a:xfrm flipV="1">
                  <a:off x="1808" y="726"/>
                  <a:ext cx="0" cy="3039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1" name="Line 94"/>
                <p:cNvSpPr>
                  <a:spLocks noChangeShapeType="1"/>
                </p:cNvSpPr>
                <p:nvPr/>
              </p:nvSpPr>
              <p:spPr bwMode="auto">
                <a:xfrm>
                  <a:off x="1752" y="728"/>
                  <a:ext cx="0" cy="3035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2" name="Line 95"/>
                <p:cNvSpPr>
                  <a:spLocks noChangeShapeType="1"/>
                </p:cNvSpPr>
                <p:nvPr/>
              </p:nvSpPr>
              <p:spPr bwMode="auto">
                <a:xfrm flipV="1">
                  <a:off x="1717" y="752"/>
                  <a:ext cx="0" cy="3001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3" name="Line 96"/>
                <p:cNvSpPr>
                  <a:spLocks noChangeShapeType="1"/>
                </p:cNvSpPr>
                <p:nvPr/>
              </p:nvSpPr>
              <p:spPr bwMode="auto">
                <a:xfrm>
                  <a:off x="1689" y="786"/>
                  <a:ext cx="0" cy="2949"/>
                </a:xfrm>
                <a:prstGeom prst="line">
                  <a:avLst/>
                </a:pr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4" name="Freeform 69"/>
                <p:cNvSpPr>
                  <a:spLocks/>
                </p:cNvSpPr>
                <p:nvPr/>
              </p:nvSpPr>
              <p:spPr bwMode="auto">
                <a:xfrm>
                  <a:off x="1422" y="2366"/>
                  <a:ext cx="97" cy="51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5" name="Freeform 64"/>
                <p:cNvSpPr>
                  <a:spLocks/>
                </p:cNvSpPr>
                <p:nvPr/>
              </p:nvSpPr>
              <p:spPr bwMode="auto">
                <a:xfrm>
                  <a:off x="1422" y="2497"/>
                  <a:ext cx="97" cy="48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6" name="Freeform 65"/>
                <p:cNvSpPr>
                  <a:spLocks/>
                </p:cNvSpPr>
                <p:nvPr/>
              </p:nvSpPr>
              <p:spPr bwMode="auto">
                <a:xfrm>
                  <a:off x="1422" y="2625"/>
                  <a:ext cx="97" cy="46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7" name="Freeform 66"/>
                <p:cNvSpPr>
                  <a:spLocks/>
                </p:cNvSpPr>
                <p:nvPr/>
              </p:nvSpPr>
              <p:spPr bwMode="auto">
                <a:xfrm>
                  <a:off x="1422" y="2869"/>
                  <a:ext cx="97" cy="42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8" name="Freeform 67"/>
                <p:cNvSpPr>
                  <a:spLocks/>
                </p:cNvSpPr>
                <p:nvPr/>
              </p:nvSpPr>
              <p:spPr bwMode="auto">
                <a:xfrm>
                  <a:off x="1422" y="2991"/>
                  <a:ext cx="97" cy="29"/>
                </a:xfrm>
                <a:custGeom>
                  <a:avLst/>
                  <a:gdLst>
                    <a:gd name="T0" fmla="*/ 0 w 48"/>
                    <a:gd name="T1" fmla="*/ 0 h 35"/>
                    <a:gd name="T2" fmla="*/ 48 w 48"/>
                    <a:gd name="T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5">
                      <a:moveTo>
                        <a:pt x="0" y="0"/>
                      </a:moveTo>
                      <a:cubicBezTo>
                        <a:pt x="0" y="0"/>
                        <a:pt x="23" y="22"/>
                        <a:pt x="48" y="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9" name="Freeform 68"/>
                <p:cNvSpPr>
                  <a:spLocks/>
                </p:cNvSpPr>
                <p:nvPr/>
              </p:nvSpPr>
              <p:spPr bwMode="auto">
                <a:xfrm>
                  <a:off x="1422" y="3100"/>
                  <a:ext cx="97" cy="37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0" name="Freeform 69"/>
                <p:cNvSpPr>
                  <a:spLocks/>
                </p:cNvSpPr>
                <p:nvPr/>
              </p:nvSpPr>
              <p:spPr bwMode="auto">
                <a:xfrm>
                  <a:off x="1422" y="3216"/>
                  <a:ext cx="97" cy="35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1" name="Freeform 70"/>
                <p:cNvSpPr>
                  <a:spLocks/>
                </p:cNvSpPr>
                <p:nvPr/>
              </p:nvSpPr>
              <p:spPr bwMode="auto">
                <a:xfrm>
                  <a:off x="1422" y="2750"/>
                  <a:ext cx="97" cy="39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2" name="Freeform 69"/>
                <p:cNvSpPr>
                  <a:spLocks/>
                </p:cNvSpPr>
                <p:nvPr/>
              </p:nvSpPr>
              <p:spPr bwMode="auto">
                <a:xfrm>
                  <a:off x="1422" y="3331"/>
                  <a:ext cx="97" cy="38"/>
                </a:xfrm>
                <a:custGeom>
                  <a:avLst/>
                  <a:gdLst>
                    <a:gd name="T0" fmla="*/ 0 w 48"/>
                    <a:gd name="T1" fmla="*/ 0 h 36"/>
                    <a:gd name="T2" fmla="*/ 48 w 48"/>
                    <a:gd name="T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8" h="36">
                      <a:moveTo>
                        <a:pt x="0" y="0"/>
                      </a:moveTo>
                      <a:cubicBezTo>
                        <a:pt x="0" y="0"/>
                        <a:pt x="23" y="23"/>
                        <a:pt x="48" y="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3" name="Freeform 72"/>
                <p:cNvSpPr>
                  <a:spLocks/>
                </p:cNvSpPr>
                <p:nvPr/>
              </p:nvSpPr>
              <p:spPr bwMode="auto">
                <a:xfrm>
                  <a:off x="1338" y="2205"/>
                  <a:ext cx="53" cy="44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5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4" name="Freeform 73"/>
                <p:cNvSpPr>
                  <a:spLocks/>
                </p:cNvSpPr>
                <p:nvPr/>
              </p:nvSpPr>
              <p:spPr bwMode="auto">
                <a:xfrm>
                  <a:off x="1338" y="2340"/>
                  <a:ext cx="53" cy="33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5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5" name="Freeform 74"/>
                <p:cNvSpPr>
                  <a:spLocks/>
                </p:cNvSpPr>
                <p:nvPr/>
              </p:nvSpPr>
              <p:spPr bwMode="auto">
                <a:xfrm>
                  <a:off x="1338" y="2463"/>
                  <a:ext cx="53" cy="29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6" name="Freeform 75"/>
                <p:cNvSpPr>
                  <a:spLocks/>
                </p:cNvSpPr>
                <p:nvPr/>
              </p:nvSpPr>
              <p:spPr bwMode="auto">
                <a:xfrm>
                  <a:off x="1338" y="2583"/>
                  <a:ext cx="53" cy="33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7" name="Freeform 76"/>
                <p:cNvSpPr>
                  <a:spLocks/>
                </p:cNvSpPr>
                <p:nvPr/>
              </p:nvSpPr>
              <p:spPr bwMode="auto">
                <a:xfrm>
                  <a:off x="1338" y="2706"/>
                  <a:ext cx="53" cy="27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8" name="Freeform 72"/>
                <p:cNvSpPr>
                  <a:spLocks/>
                </p:cNvSpPr>
                <p:nvPr/>
              </p:nvSpPr>
              <p:spPr bwMode="auto">
                <a:xfrm>
                  <a:off x="1338" y="2824"/>
                  <a:ext cx="53" cy="27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5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29" name="Freeform 73"/>
                <p:cNvSpPr>
                  <a:spLocks/>
                </p:cNvSpPr>
                <p:nvPr/>
              </p:nvSpPr>
              <p:spPr bwMode="auto">
                <a:xfrm>
                  <a:off x="1338" y="2941"/>
                  <a:ext cx="53" cy="28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5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30" name="Freeform 74"/>
                <p:cNvSpPr>
                  <a:spLocks/>
                </p:cNvSpPr>
                <p:nvPr/>
              </p:nvSpPr>
              <p:spPr bwMode="auto">
                <a:xfrm>
                  <a:off x="1338" y="3060"/>
                  <a:ext cx="53" cy="29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31" name="Freeform 75"/>
                <p:cNvSpPr>
                  <a:spLocks/>
                </p:cNvSpPr>
                <p:nvPr/>
              </p:nvSpPr>
              <p:spPr bwMode="auto">
                <a:xfrm>
                  <a:off x="1338" y="3179"/>
                  <a:ext cx="53" cy="27"/>
                </a:xfrm>
                <a:custGeom>
                  <a:avLst/>
                  <a:gdLst>
                    <a:gd name="T0" fmla="*/ 26 w 26"/>
                    <a:gd name="T1" fmla="*/ 23 h 23"/>
                    <a:gd name="T2" fmla="*/ 0 w 26"/>
                    <a:gd name="T3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3">
                      <a:moveTo>
                        <a:pt x="26" y="23"/>
                      </a:moveTo>
                      <a:cubicBezTo>
                        <a:pt x="26" y="23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32" name="Freeform 76"/>
                <p:cNvSpPr>
                  <a:spLocks/>
                </p:cNvSpPr>
                <p:nvPr/>
              </p:nvSpPr>
              <p:spPr bwMode="auto">
                <a:xfrm>
                  <a:off x="1338" y="3297"/>
                  <a:ext cx="53" cy="27"/>
                </a:xfrm>
                <a:custGeom>
                  <a:avLst/>
                  <a:gdLst>
                    <a:gd name="T0" fmla="*/ 26 w 26"/>
                    <a:gd name="T1" fmla="*/ 22 h 22"/>
                    <a:gd name="T2" fmla="*/ 0 w 26"/>
                    <a:gd name="T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22">
                      <a:moveTo>
                        <a:pt x="26" y="22"/>
                      </a:moveTo>
                      <a:cubicBezTo>
                        <a:pt x="26" y="22"/>
                        <a:pt x="13" y="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33" name="Freeform 47"/>
                <p:cNvSpPr>
                  <a:spLocks/>
                </p:cNvSpPr>
                <p:nvPr/>
              </p:nvSpPr>
              <p:spPr bwMode="auto">
                <a:xfrm>
                  <a:off x="1596" y="1088"/>
                  <a:ext cx="75" cy="54"/>
                </a:xfrm>
                <a:custGeom>
                  <a:avLst/>
                  <a:gdLst>
                    <a:gd name="T0" fmla="*/ 0 w 37"/>
                    <a:gd name="T1" fmla="*/ 0 h 27"/>
                    <a:gd name="T2" fmla="*/ 37 w 37"/>
                    <a:gd name="T3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37" h="27">
                      <a:moveTo>
                        <a:pt x="0" y="0"/>
                      </a:moveTo>
                      <a:cubicBezTo>
                        <a:pt x="0" y="0"/>
                        <a:pt x="12" y="16"/>
                        <a:pt x="37" y="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6">
                      <a:lumMod val="20000"/>
                      <a:lumOff val="8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16" name="Agrupar 15"/>
              <p:cNvGrpSpPr/>
              <p:nvPr/>
            </p:nvGrpSpPr>
            <p:grpSpPr>
              <a:xfrm>
                <a:off x="1261254" y="1588005"/>
                <a:ext cx="389993" cy="182803"/>
                <a:chOff x="925254" y="2075685"/>
                <a:chExt cx="389993" cy="182803"/>
              </a:xfrm>
            </p:grpSpPr>
            <p:sp>
              <p:nvSpPr>
                <p:cNvPr id="17" name="Forma Livre 16"/>
                <p:cNvSpPr/>
                <p:nvPr/>
              </p:nvSpPr>
              <p:spPr>
                <a:xfrm>
                  <a:off x="925254" y="2085209"/>
                  <a:ext cx="380466" cy="1732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466" h="173279">
                      <a:moveTo>
                        <a:pt x="207492" y="117043"/>
                      </a:moveTo>
                      <a:cubicBezTo>
                        <a:pt x="198196" y="117043"/>
                        <a:pt x="190995" y="118529"/>
                        <a:pt x="185890" y="121501"/>
                      </a:cubicBezTo>
                      <a:cubicBezTo>
                        <a:pt x="180784" y="124473"/>
                        <a:pt x="178232" y="128702"/>
                        <a:pt x="178232" y="134188"/>
                      </a:cubicBezTo>
                      <a:cubicBezTo>
                        <a:pt x="178232" y="138913"/>
                        <a:pt x="179756" y="142647"/>
                        <a:pt x="182804" y="145390"/>
                      </a:cubicBezTo>
                      <a:cubicBezTo>
                        <a:pt x="185852" y="148133"/>
                        <a:pt x="189890" y="149505"/>
                        <a:pt x="194919" y="149505"/>
                      </a:cubicBezTo>
                      <a:cubicBezTo>
                        <a:pt x="200863" y="149505"/>
                        <a:pt x="205892" y="147371"/>
                        <a:pt x="210007" y="143104"/>
                      </a:cubicBezTo>
                      <a:cubicBezTo>
                        <a:pt x="214122" y="138837"/>
                        <a:pt x="216179" y="133579"/>
                        <a:pt x="216179" y="127330"/>
                      </a:cubicBezTo>
                      <a:lnTo>
                        <a:pt x="216179" y="117272"/>
                      </a:lnTo>
                      <a:cubicBezTo>
                        <a:pt x="214808" y="117120"/>
                        <a:pt x="213398" y="117043"/>
                        <a:pt x="211950" y="117043"/>
                      </a:cubicBezTo>
                      <a:cubicBezTo>
                        <a:pt x="210502" y="117043"/>
                        <a:pt x="209016" y="117043"/>
                        <a:pt x="207492" y="117043"/>
                      </a:cubicBezTo>
                      <a:close/>
                      <a:moveTo>
                        <a:pt x="273939" y="50978"/>
                      </a:moveTo>
                      <a:lnTo>
                        <a:pt x="308686" y="50978"/>
                      </a:lnTo>
                      <a:lnTo>
                        <a:pt x="308686" y="121158"/>
                      </a:lnTo>
                      <a:cubicBezTo>
                        <a:pt x="308686" y="128778"/>
                        <a:pt x="310248" y="134646"/>
                        <a:pt x="313372" y="138760"/>
                      </a:cubicBezTo>
                      <a:cubicBezTo>
                        <a:pt x="316497" y="142875"/>
                        <a:pt x="320954" y="144933"/>
                        <a:pt x="326745" y="144933"/>
                      </a:cubicBezTo>
                      <a:cubicBezTo>
                        <a:pt x="332537" y="144933"/>
                        <a:pt x="337147" y="142837"/>
                        <a:pt x="340576" y="138646"/>
                      </a:cubicBezTo>
                      <a:cubicBezTo>
                        <a:pt x="344005" y="134455"/>
                        <a:pt x="345719" y="128702"/>
                        <a:pt x="345719" y="121387"/>
                      </a:cubicBezTo>
                      <a:lnTo>
                        <a:pt x="345719" y="50978"/>
                      </a:lnTo>
                      <a:lnTo>
                        <a:pt x="380466" y="50978"/>
                      </a:lnTo>
                      <a:lnTo>
                        <a:pt x="380466" y="170307"/>
                      </a:lnTo>
                      <a:lnTo>
                        <a:pt x="350063" y="170307"/>
                      </a:lnTo>
                      <a:lnTo>
                        <a:pt x="348234" y="157277"/>
                      </a:lnTo>
                      <a:cubicBezTo>
                        <a:pt x="344271" y="162459"/>
                        <a:pt x="339357" y="166421"/>
                        <a:pt x="333489" y="169164"/>
                      </a:cubicBezTo>
                      <a:cubicBezTo>
                        <a:pt x="327622" y="171907"/>
                        <a:pt x="321183" y="173279"/>
                        <a:pt x="314172" y="173279"/>
                      </a:cubicBezTo>
                      <a:cubicBezTo>
                        <a:pt x="301980" y="173279"/>
                        <a:pt x="292227" y="169050"/>
                        <a:pt x="284912" y="160592"/>
                      </a:cubicBezTo>
                      <a:cubicBezTo>
                        <a:pt x="277596" y="152133"/>
                        <a:pt x="273939" y="140894"/>
                        <a:pt x="273939" y="126873"/>
                      </a:cubicBezTo>
                      <a:close/>
                      <a:moveTo>
                        <a:pt x="195834" y="48006"/>
                      </a:moveTo>
                      <a:cubicBezTo>
                        <a:pt x="212750" y="48006"/>
                        <a:pt x="225819" y="52502"/>
                        <a:pt x="235039" y="61494"/>
                      </a:cubicBezTo>
                      <a:cubicBezTo>
                        <a:pt x="244259" y="70485"/>
                        <a:pt x="248869" y="83363"/>
                        <a:pt x="248869" y="100127"/>
                      </a:cubicBezTo>
                      <a:lnTo>
                        <a:pt x="248869" y="170307"/>
                      </a:lnTo>
                      <a:lnTo>
                        <a:pt x="220523" y="170307"/>
                      </a:lnTo>
                      <a:lnTo>
                        <a:pt x="218694" y="157734"/>
                      </a:lnTo>
                      <a:cubicBezTo>
                        <a:pt x="215189" y="162611"/>
                        <a:pt x="210426" y="166421"/>
                        <a:pt x="204406" y="169164"/>
                      </a:cubicBezTo>
                      <a:cubicBezTo>
                        <a:pt x="198387" y="171907"/>
                        <a:pt x="191795" y="173279"/>
                        <a:pt x="184632" y="173279"/>
                      </a:cubicBezTo>
                      <a:cubicBezTo>
                        <a:pt x="172745" y="173279"/>
                        <a:pt x="163258" y="170079"/>
                        <a:pt x="156172" y="163678"/>
                      </a:cubicBezTo>
                      <a:cubicBezTo>
                        <a:pt x="149085" y="157277"/>
                        <a:pt x="145542" y="148819"/>
                        <a:pt x="145542" y="138303"/>
                      </a:cubicBezTo>
                      <a:cubicBezTo>
                        <a:pt x="145542" y="124740"/>
                        <a:pt x="150800" y="114186"/>
                        <a:pt x="161315" y="106642"/>
                      </a:cubicBezTo>
                      <a:cubicBezTo>
                        <a:pt x="171831" y="99098"/>
                        <a:pt x="186690" y="95326"/>
                        <a:pt x="205892" y="95326"/>
                      </a:cubicBezTo>
                      <a:cubicBezTo>
                        <a:pt x="207569" y="95326"/>
                        <a:pt x="209245" y="95364"/>
                        <a:pt x="210921" y="95441"/>
                      </a:cubicBezTo>
                      <a:cubicBezTo>
                        <a:pt x="212598" y="95517"/>
                        <a:pt x="214274" y="95631"/>
                        <a:pt x="215951" y="95784"/>
                      </a:cubicBezTo>
                      <a:cubicBezTo>
                        <a:pt x="215189" y="88926"/>
                        <a:pt x="212712" y="83858"/>
                        <a:pt x="208521" y="80582"/>
                      </a:cubicBezTo>
                      <a:cubicBezTo>
                        <a:pt x="204330" y="77305"/>
                        <a:pt x="198196" y="75667"/>
                        <a:pt x="190119" y="75667"/>
                      </a:cubicBezTo>
                      <a:cubicBezTo>
                        <a:pt x="178994" y="75667"/>
                        <a:pt x="167716" y="78639"/>
                        <a:pt x="156286" y="84582"/>
                      </a:cubicBezTo>
                      <a:lnTo>
                        <a:pt x="156286" y="57379"/>
                      </a:lnTo>
                      <a:cubicBezTo>
                        <a:pt x="168478" y="51130"/>
                        <a:pt x="181661" y="48006"/>
                        <a:pt x="195834" y="48006"/>
                      </a:cubicBezTo>
                      <a:close/>
                      <a:moveTo>
                        <a:pt x="73076" y="19888"/>
                      </a:moveTo>
                      <a:lnTo>
                        <a:pt x="107823" y="19888"/>
                      </a:lnTo>
                      <a:lnTo>
                        <a:pt x="107823" y="50978"/>
                      </a:lnTo>
                      <a:lnTo>
                        <a:pt x="132969" y="50978"/>
                      </a:lnTo>
                      <a:lnTo>
                        <a:pt x="132969" y="77496"/>
                      </a:lnTo>
                      <a:lnTo>
                        <a:pt x="107823" y="77496"/>
                      </a:lnTo>
                      <a:lnTo>
                        <a:pt x="107823" y="126187"/>
                      </a:lnTo>
                      <a:cubicBezTo>
                        <a:pt x="107823" y="132588"/>
                        <a:pt x="109118" y="137313"/>
                        <a:pt x="111709" y="140361"/>
                      </a:cubicBezTo>
                      <a:cubicBezTo>
                        <a:pt x="114300" y="143409"/>
                        <a:pt x="118338" y="144933"/>
                        <a:pt x="123825" y="144933"/>
                      </a:cubicBezTo>
                      <a:cubicBezTo>
                        <a:pt x="128092" y="144933"/>
                        <a:pt x="132054" y="144171"/>
                        <a:pt x="135712" y="142647"/>
                      </a:cubicBezTo>
                      <a:lnTo>
                        <a:pt x="135712" y="169393"/>
                      </a:lnTo>
                      <a:cubicBezTo>
                        <a:pt x="128397" y="171526"/>
                        <a:pt x="121691" y="172593"/>
                        <a:pt x="115595" y="172593"/>
                      </a:cubicBezTo>
                      <a:cubicBezTo>
                        <a:pt x="101574" y="172593"/>
                        <a:pt x="90983" y="168974"/>
                        <a:pt x="83820" y="161735"/>
                      </a:cubicBezTo>
                      <a:cubicBezTo>
                        <a:pt x="76657" y="154496"/>
                        <a:pt x="73076" y="143713"/>
                        <a:pt x="73076" y="129388"/>
                      </a:cubicBezTo>
                      <a:lnTo>
                        <a:pt x="73076" y="77496"/>
                      </a:lnTo>
                      <a:lnTo>
                        <a:pt x="54788" y="77496"/>
                      </a:lnTo>
                      <a:lnTo>
                        <a:pt x="54788" y="50978"/>
                      </a:lnTo>
                      <a:lnTo>
                        <a:pt x="73076" y="50978"/>
                      </a:lnTo>
                      <a:close/>
                      <a:moveTo>
                        <a:pt x="0" y="16002"/>
                      </a:moveTo>
                      <a:lnTo>
                        <a:pt x="35890" y="16002"/>
                      </a:lnTo>
                      <a:lnTo>
                        <a:pt x="35890" y="170307"/>
                      </a:lnTo>
                      <a:lnTo>
                        <a:pt x="0" y="170307"/>
                      </a:lnTo>
                      <a:close/>
                      <a:moveTo>
                        <a:pt x="334289" y="0"/>
                      </a:moveTo>
                      <a:lnTo>
                        <a:pt x="371551" y="0"/>
                      </a:lnTo>
                      <a:lnTo>
                        <a:pt x="339547" y="36348"/>
                      </a:lnTo>
                      <a:lnTo>
                        <a:pt x="309372" y="36348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  <a:scene3d>
                  <a:camera prst="isometricLeftDown">
                    <a:rot lat="1500002" lon="2700001" rev="0"/>
                  </a:camera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18" name="Forma Livre 17"/>
                <p:cNvSpPr/>
                <p:nvPr/>
              </p:nvSpPr>
              <p:spPr>
                <a:xfrm>
                  <a:off x="928430" y="2082035"/>
                  <a:ext cx="380466" cy="1732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466" h="173279">
                      <a:moveTo>
                        <a:pt x="207492" y="117043"/>
                      </a:moveTo>
                      <a:cubicBezTo>
                        <a:pt x="198196" y="117043"/>
                        <a:pt x="190995" y="118529"/>
                        <a:pt x="185890" y="121501"/>
                      </a:cubicBezTo>
                      <a:cubicBezTo>
                        <a:pt x="180784" y="124473"/>
                        <a:pt x="178232" y="128702"/>
                        <a:pt x="178232" y="134188"/>
                      </a:cubicBezTo>
                      <a:cubicBezTo>
                        <a:pt x="178232" y="138913"/>
                        <a:pt x="179756" y="142647"/>
                        <a:pt x="182804" y="145390"/>
                      </a:cubicBezTo>
                      <a:cubicBezTo>
                        <a:pt x="185852" y="148133"/>
                        <a:pt x="189890" y="149505"/>
                        <a:pt x="194919" y="149505"/>
                      </a:cubicBezTo>
                      <a:cubicBezTo>
                        <a:pt x="200863" y="149505"/>
                        <a:pt x="205892" y="147371"/>
                        <a:pt x="210007" y="143104"/>
                      </a:cubicBezTo>
                      <a:cubicBezTo>
                        <a:pt x="214122" y="138837"/>
                        <a:pt x="216179" y="133579"/>
                        <a:pt x="216179" y="127330"/>
                      </a:cubicBezTo>
                      <a:lnTo>
                        <a:pt x="216179" y="117272"/>
                      </a:lnTo>
                      <a:cubicBezTo>
                        <a:pt x="214808" y="117120"/>
                        <a:pt x="213398" y="117043"/>
                        <a:pt x="211950" y="117043"/>
                      </a:cubicBezTo>
                      <a:cubicBezTo>
                        <a:pt x="210502" y="117043"/>
                        <a:pt x="209016" y="117043"/>
                        <a:pt x="207492" y="117043"/>
                      </a:cubicBezTo>
                      <a:close/>
                      <a:moveTo>
                        <a:pt x="273939" y="50978"/>
                      </a:moveTo>
                      <a:lnTo>
                        <a:pt x="308686" y="50978"/>
                      </a:lnTo>
                      <a:lnTo>
                        <a:pt x="308686" y="121158"/>
                      </a:lnTo>
                      <a:cubicBezTo>
                        <a:pt x="308686" y="128778"/>
                        <a:pt x="310248" y="134646"/>
                        <a:pt x="313372" y="138760"/>
                      </a:cubicBezTo>
                      <a:cubicBezTo>
                        <a:pt x="316497" y="142875"/>
                        <a:pt x="320954" y="144933"/>
                        <a:pt x="326745" y="144933"/>
                      </a:cubicBezTo>
                      <a:cubicBezTo>
                        <a:pt x="332537" y="144933"/>
                        <a:pt x="337147" y="142837"/>
                        <a:pt x="340576" y="138646"/>
                      </a:cubicBezTo>
                      <a:cubicBezTo>
                        <a:pt x="344005" y="134455"/>
                        <a:pt x="345719" y="128702"/>
                        <a:pt x="345719" y="121387"/>
                      </a:cubicBezTo>
                      <a:lnTo>
                        <a:pt x="345719" y="50978"/>
                      </a:lnTo>
                      <a:lnTo>
                        <a:pt x="380466" y="50978"/>
                      </a:lnTo>
                      <a:lnTo>
                        <a:pt x="380466" y="170307"/>
                      </a:lnTo>
                      <a:lnTo>
                        <a:pt x="350063" y="170307"/>
                      </a:lnTo>
                      <a:lnTo>
                        <a:pt x="348234" y="157277"/>
                      </a:lnTo>
                      <a:cubicBezTo>
                        <a:pt x="344271" y="162459"/>
                        <a:pt x="339357" y="166421"/>
                        <a:pt x="333489" y="169164"/>
                      </a:cubicBezTo>
                      <a:cubicBezTo>
                        <a:pt x="327622" y="171907"/>
                        <a:pt x="321183" y="173279"/>
                        <a:pt x="314172" y="173279"/>
                      </a:cubicBezTo>
                      <a:cubicBezTo>
                        <a:pt x="301980" y="173279"/>
                        <a:pt x="292227" y="169050"/>
                        <a:pt x="284912" y="160592"/>
                      </a:cubicBezTo>
                      <a:cubicBezTo>
                        <a:pt x="277596" y="152133"/>
                        <a:pt x="273939" y="140894"/>
                        <a:pt x="273939" y="126873"/>
                      </a:cubicBezTo>
                      <a:close/>
                      <a:moveTo>
                        <a:pt x="195834" y="48006"/>
                      </a:moveTo>
                      <a:cubicBezTo>
                        <a:pt x="212750" y="48006"/>
                        <a:pt x="225819" y="52502"/>
                        <a:pt x="235039" y="61494"/>
                      </a:cubicBezTo>
                      <a:cubicBezTo>
                        <a:pt x="244259" y="70485"/>
                        <a:pt x="248869" y="83363"/>
                        <a:pt x="248869" y="100127"/>
                      </a:cubicBezTo>
                      <a:lnTo>
                        <a:pt x="248869" y="170307"/>
                      </a:lnTo>
                      <a:lnTo>
                        <a:pt x="220523" y="170307"/>
                      </a:lnTo>
                      <a:lnTo>
                        <a:pt x="218694" y="157734"/>
                      </a:lnTo>
                      <a:cubicBezTo>
                        <a:pt x="215189" y="162611"/>
                        <a:pt x="210426" y="166421"/>
                        <a:pt x="204406" y="169164"/>
                      </a:cubicBezTo>
                      <a:cubicBezTo>
                        <a:pt x="198387" y="171907"/>
                        <a:pt x="191795" y="173279"/>
                        <a:pt x="184632" y="173279"/>
                      </a:cubicBezTo>
                      <a:cubicBezTo>
                        <a:pt x="172745" y="173279"/>
                        <a:pt x="163258" y="170079"/>
                        <a:pt x="156172" y="163678"/>
                      </a:cubicBezTo>
                      <a:cubicBezTo>
                        <a:pt x="149085" y="157277"/>
                        <a:pt x="145542" y="148819"/>
                        <a:pt x="145542" y="138303"/>
                      </a:cubicBezTo>
                      <a:cubicBezTo>
                        <a:pt x="145542" y="124740"/>
                        <a:pt x="150800" y="114186"/>
                        <a:pt x="161315" y="106642"/>
                      </a:cubicBezTo>
                      <a:cubicBezTo>
                        <a:pt x="171831" y="99098"/>
                        <a:pt x="186690" y="95326"/>
                        <a:pt x="205892" y="95326"/>
                      </a:cubicBezTo>
                      <a:cubicBezTo>
                        <a:pt x="207569" y="95326"/>
                        <a:pt x="209245" y="95364"/>
                        <a:pt x="210921" y="95441"/>
                      </a:cubicBezTo>
                      <a:cubicBezTo>
                        <a:pt x="212598" y="95517"/>
                        <a:pt x="214274" y="95631"/>
                        <a:pt x="215951" y="95784"/>
                      </a:cubicBezTo>
                      <a:cubicBezTo>
                        <a:pt x="215189" y="88926"/>
                        <a:pt x="212712" y="83858"/>
                        <a:pt x="208521" y="80582"/>
                      </a:cubicBezTo>
                      <a:cubicBezTo>
                        <a:pt x="204330" y="77305"/>
                        <a:pt x="198196" y="75667"/>
                        <a:pt x="190119" y="75667"/>
                      </a:cubicBezTo>
                      <a:cubicBezTo>
                        <a:pt x="178994" y="75667"/>
                        <a:pt x="167716" y="78639"/>
                        <a:pt x="156286" y="84582"/>
                      </a:cubicBezTo>
                      <a:lnTo>
                        <a:pt x="156286" y="57379"/>
                      </a:lnTo>
                      <a:cubicBezTo>
                        <a:pt x="168478" y="51130"/>
                        <a:pt x="181661" y="48006"/>
                        <a:pt x="195834" y="48006"/>
                      </a:cubicBezTo>
                      <a:close/>
                      <a:moveTo>
                        <a:pt x="73076" y="19888"/>
                      </a:moveTo>
                      <a:lnTo>
                        <a:pt x="107823" y="19888"/>
                      </a:lnTo>
                      <a:lnTo>
                        <a:pt x="107823" y="50978"/>
                      </a:lnTo>
                      <a:lnTo>
                        <a:pt x="132969" y="50978"/>
                      </a:lnTo>
                      <a:lnTo>
                        <a:pt x="132969" y="77496"/>
                      </a:lnTo>
                      <a:lnTo>
                        <a:pt x="107823" y="77496"/>
                      </a:lnTo>
                      <a:lnTo>
                        <a:pt x="107823" y="126187"/>
                      </a:lnTo>
                      <a:cubicBezTo>
                        <a:pt x="107823" y="132588"/>
                        <a:pt x="109118" y="137313"/>
                        <a:pt x="111709" y="140361"/>
                      </a:cubicBezTo>
                      <a:cubicBezTo>
                        <a:pt x="114300" y="143409"/>
                        <a:pt x="118338" y="144933"/>
                        <a:pt x="123825" y="144933"/>
                      </a:cubicBezTo>
                      <a:cubicBezTo>
                        <a:pt x="128092" y="144933"/>
                        <a:pt x="132054" y="144171"/>
                        <a:pt x="135712" y="142647"/>
                      </a:cubicBezTo>
                      <a:lnTo>
                        <a:pt x="135712" y="169393"/>
                      </a:lnTo>
                      <a:cubicBezTo>
                        <a:pt x="128397" y="171526"/>
                        <a:pt x="121691" y="172593"/>
                        <a:pt x="115595" y="172593"/>
                      </a:cubicBezTo>
                      <a:cubicBezTo>
                        <a:pt x="101574" y="172593"/>
                        <a:pt x="90983" y="168974"/>
                        <a:pt x="83820" y="161735"/>
                      </a:cubicBezTo>
                      <a:cubicBezTo>
                        <a:pt x="76657" y="154496"/>
                        <a:pt x="73076" y="143713"/>
                        <a:pt x="73076" y="129388"/>
                      </a:cubicBezTo>
                      <a:lnTo>
                        <a:pt x="73076" y="77496"/>
                      </a:lnTo>
                      <a:lnTo>
                        <a:pt x="54788" y="77496"/>
                      </a:lnTo>
                      <a:lnTo>
                        <a:pt x="54788" y="50978"/>
                      </a:lnTo>
                      <a:lnTo>
                        <a:pt x="73076" y="50978"/>
                      </a:lnTo>
                      <a:close/>
                      <a:moveTo>
                        <a:pt x="0" y="16002"/>
                      </a:moveTo>
                      <a:lnTo>
                        <a:pt x="35890" y="16002"/>
                      </a:lnTo>
                      <a:lnTo>
                        <a:pt x="35890" y="170307"/>
                      </a:lnTo>
                      <a:lnTo>
                        <a:pt x="0" y="170307"/>
                      </a:lnTo>
                      <a:close/>
                      <a:moveTo>
                        <a:pt x="334289" y="0"/>
                      </a:moveTo>
                      <a:lnTo>
                        <a:pt x="371551" y="0"/>
                      </a:lnTo>
                      <a:lnTo>
                        <a:pt x="339547" y="36348"/>
                      </a:lnTo>
                      <a:lnTo>
                        <a:pt x="309372" y="36348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  <a:scene3d>
                  <a:camera prst="isometricLeftDown">
                    <a:rot lat="1500002" lon="2700001" rev="0"/>
                  </a:camera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00"/>
                </a:p>
              </p:txBody>
            </p:sp>
            <p:sp>
              <p:nvSpPr>
                <p:cNvPr id="22" name="Forma Livre 21"/>
                <p:cNvSpPr/>
                <p:nvPr/>
              </p:nvSpPr>
              <p:spPr>
                <a:xfrm>
                  <a:off x="931606" y="2078860"/>
                  <a:ext cx="380466" cy="1732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466" h="173279">
                      <a:moveTo>
                        <a:pt x="207492" y="117043"/>
                      </a:moveTo>
                      <a:cubicBezTo>
                        <a:pt x="198196" y="117043"/>
                        <a:pt x="190995" y="118529"/>
                        <a:pt x="185890" y="121501"/>
                      </a:cubicBezTo>
                      <a:cubicBezTo>
                        <a:pt x="180784" y="124473"/>
                        <a:pt x="178232" y="128702"/>
                        <a:pt x="178232" y="134188"/>
                      </a:cubicBezTo>
                      <a:cubicBezTo>
                        <a:pt x="178232" y="138913"/>
                        <a:pt x="179756" y="142647"/>
                        <a:pt x="182804" y="145390"/>
                      </a:cubicBezTo>
                      <a:cubicBezTo>
                        <a:pt x="185852" y="148133"/>
                        <a:pt x="189890" y="149505"/>
                        <a:pt x="194919" y="149505"/>
                      </a:cubicBezTo>
                      <a:cubicBezTo>
                        <a:pt x="200863" y="149505"/>
                        <a:pt x="205892" y="147371"/>
                        <a:pt x="210007" y="143104"/>
                      </a:cubicBezTo>
                      <a:cubicBezTo>
                        <a:pt x="214122" y="138837"/>
                        <a:pt x="216179" y="133579"/>
                        <a:pt x="216179" y="127330"/>
                      </a:cubicBezTo>
                      <a:lnTo>
                        <a:pt x="216179" y="117272"/>
                      </a:lnTo>
                      <a:cubicBezTo>
                        <a:pt x="214808" y="117120"/>
                        <a:pt x="213398" y="117043"/>
                        <a:pt x="211950" y="117043"/>
                      </a:cubicBezTo>
                      <a:cubicBezTo>
                        <a:pt x="210502" y="117043"/>
                        <a:pt x="209016" y="117043"/>
                        <a:pt x="207492" y="117043"/>
                      </a:cubicBezTo>
                      <a:close/>
                      <a:moveTo>
                        <a:pt x="273939" y="50978"/>
                      </a:moveTo>
                      <a:lnTo>
                        <a:pt x="308686" y="50978"/>
                      </a:lnTo>
                      <a:lnTo>
                        <a:pt x="308686" y="121158"/>
                      </a:lnTo>
                      <a:cubicBezTo>
                        <a:pt x="308686" y="128778"/>
                        <a:pt x="310248" y="134646"/>
                        <a:pt x="313372" y="138760"/>
                      </a:cubicBezTo>
                      <a:cubicBezTo>
                        <a:pt x="316497" y="142875"/>
                        <a:pt x="320954" y="144933"/>
                        <a:pt x="326745" y="144933"/>
                      </a:cubicBezTo>
                      <a:cubicBezTo>
                        <a:pt x="332537" y="144933"/>
                        <a:pt x="337147" y="142837"/>
                        <a:pt x="340576" y="138646"/>
                      </a:cubicBezTo>
                      <a:cubicBezTo>
                        <a:pt x="344005" y="134455"/>
                        <a:pt x="345719" y="128702"/>
                        <a:pt x="345719" y="121387"/>
                      </a:cubicBezTo>
                      <a:lnTo>
                        <a:pt x="345719" y="50978"/>
                      </a:lnTo>
                      <a:lnTo>
                        <a:pt x="380466" y="50978"/>
                      </a:lnTo>
                      <a:lnTo>
                        <a:pt x="380466" y="170307"/>
                      </a:lnTo>
                      <a:lnTo>
                        <a:pt x="350063" y="170307"/>
                      </a:lnTo>
                      <a:lnTo>
                        <a:pt x="348234" y="157277"/>
                      </a:lnTo>
                      <a:cubicBezTo>
                        <a:pt x="344271" y="162459"/>
                        <a:pt x="339357" y="166421"/>
                        <a:pt x="333489" y="169164"/>
                      </a:cubicBezTo>
                      <a:cubicBezTo>
                        <a:pt x="327622" y="171907"/>
                        <a:pt x="321183" y="173279"/>
                        <a:pt x="314172" y="173279"/>
                      </a:cubicBezTo>
                      <a:cubicBezTo>
                        <a:pt x="301980" y="173279"/>
                        <a:pt x="292227" y="169050"/>
                        <a:pt x="284912" y="160592"/>
                      </a:cubicBezTo>
                      <a:cubicBezTo>
                        <a:pt x="277596" y="152133"/>
                        <a:pt x="273939" y="140894"/>
                        <a:pt x="273939" y="126873"/>
                      </a:cubicBezTo>
                      <a:close/>
                      <a:moveTo>
                        <a:pt x="195834" y="48006"/>
                      </a:moveTo>
                      <a:cubicBezTo>
                        <a:pt x="212750" y="48006"/>
                        <a:pt x="225819" y="52502"/>
                        <a:pt x="235039" y="61494"/>
                      </a:cubicBezTo>
                      <a:cubicBezTo>
                        <a:pt x="244259" y="70485"/>
                        <a:pt x="248869" y="83363"/>
                        <a:pt x="248869" y="100127"/>
                      </a:cubicBezTo>
                      <a:lnTo>
                        <a:pt x="248869" y="170307"/>
                      </a:lnTo>
                      <a:lnTo>
                        <a:pt x="220523" y="170307"/>
                      </a:lnTo>
                      <a:lnTo>
                        <a:pt x="218694" y="157734"/>
                      </a:lnTo>
                      <a:cubicBezTo>
                        <a:pt x="215189" y="162611"/>
                        <a:pt x="210426" y="166421"/>
                        <a:pt x="204406" y="169164"/>
                      </a:cubicBezTo>
                      <a:cubicBezTo>
                        <a:pt x="198387" y="171907"/>
                        <a:pt x="191795" y="173279"/>
                        <a:pt x="184632" y="173279"/>
                      </a:cubicBezTo>
                      <a:cubicBezTo>
                        <a:pt x="172745" y="173279"/>
                        <a:pt x="163258" y="170079"/>
                        <a:pt x="156172" y="163678"/>
                      </a:cubicBezTo>
                      <a:cubicBezTo>
                        <a:pt x="149085" y="157277"/>
                        <a:pt x="145542" y="148819"/>
                        <a:pt x="145542" y="138303"/>
                      </a:cubicBezTo>
                      <a:cubicBezTo>
                        <a:pt x="145542" y="124740"/>
                        <a:pt x="150800" y="114186"/>
                        <a:pt x="161315" y="106642"/>
                      </a:cubicBezTo>
                      <a:cubicBezTo>
                        <a:pt x="171831" y="99098"/>
                        <a:pt x="186690" y="95326"/>
                        <a:pt x="205892" y="95326"/>
                      </a:cubicBezTo>
                      <a:cubicBezTo>
                        <a:pt x="207569" y="95326"/>
                        <a:pt x="209245" y="95364"/>
                        <a:pt x="210921" y="95441"/>
                      </a:cubicBezTo>
                      <a:cubicBezTo>
                        <a:pt x="212598" y="95517"/>
                        <a:pt x="214274" y="95631"/>
                        <a:pt x="215951" y="95784"/>
                      </a:cubicBezTo>
                      <a:cubicBezTo>
                        <a:pt x="215189" y="88926"/>
                        <a:pt x="212712" y="83858"/>
                        <a:pt x="208521" y="80582"/>
                      </a:cubicBezTo>
                      <a:cubicBezTo>
                        <a:pt x="204330" y="77305"/>
                        <a:pt x="198196" y="75667"/>
                        <a:pt x="190119" y="75667"/>
                      </a:cubicBezTo>
                      <a:cubicBezTo>
                        <a:pt x="178994" y="75667"/>
                        <a:pt x="167716" y="78639"/>
                        <a:pt x="156286" y="84582"/>
                      </a:cubicBezTo>
                      <a:lnTo>
                        <a:pt x="156286" y="57379"/>
                      </a:lnTo>
                      <a:cubicBezTo>
                        <a:pt x="168478" y="51130"/>
                        <a:pt x="181661" y="48006"/>
                        <a:pt x="195834" y="48006"/>
                      </a:cubicBezTo>
                      <a:close/>
                      <a:moveTo>
                        <a:pt x="73076" y="19888"/>
                      </a:moveTo>
                      <a:lnTo>
                        <a:pt x="107823" y="19888"/>
                      </a:lnTo>
                      <a:lnTo>
                        <a:pt x="107823" y="50978"/>
                      </a:lnTo>
                      <a:lnTo>
                        <a:pt x="132969" y="50978"/>
                      </a:lnTo>
                      <a:lnTo>
                        <a:pt x="132969" y="77496"/>
                      </a:lnTo>
                      <a:lnTo>
                        <a:pt x="107823" y="77496"/>
                      </a:lnTo>
                      <a:lnTo>
                        <a:pt x="107823" y="126187"/>
                      </a:lnTo>
                      <a:cubicBezTo>
                        <a:pt x="107823" y="132588"/>
                        <a:pt x="109118" y="137313"/>
                        <a:pt x="111709" y="140361"/>
                      </a:cubicBezTo>
                      <a:cubicBezTo>
                        <a:pt x="114300" y="143409"/>
                        <a:pt x="118338" y="144933"/>
                        <a:pt x="123825" y="144933"/>
                      </a:cubicBezTo>
                      <a:cubicBezTo>
                        <a:pt x="128092" y="144933"/>
                        <a:pt x="132054" y="144171"/>
                        <a:pt x="135712" y="142647"/>
                      </a:cubicBezTo>
                      <a:lnTo>
                        <a:pt x="135712" y="169393"/>
                      </a:lnTo>
                      <a:cubicBezTo>
                        <a:pt x="128397" y="171526"/>
                        <a:pt x="121691" y="172593"/>
                        <a:pt x="115595" y="172593"/>
                      </a:cubicBezTo>
                      <a:cubicBezTo>
                        <a:pt x="101574" y="172593"/>
                        <a:pt x="90983" y="168974"/>
                        <a:pt x="83820" y="161735"/>
                      </a:cubicBezTo>
                      <a:cubicBezTo>
                        <a:pt x="76657" y="154496"/>
                        <a:pt x="73076" y="143713"/>
                        <a:pt x="73076" y="129388"/>
                      </a:cubicBezTo>
                      <a:lnTo>
                        <a:pt x="73076" y="77496"/>
                      </a:lnTo>
                      <a:lnTo>
                        <a:pt x="54788" y="77496"/>
                      </a:lnTo>
                      <a:lnTo>
                        <a:pt x="54788" y="50978"/>
                      </a:lnTo>
                      <a:lnTo>
                        <a:pt x="73076" y="50978"/>
                      </a:lnTo>
                      <a:close/>
                      <a:moveTo>
                        <a:pt x="0" y="16002"/>
                      </a:moveTo>
                      <a:lnTo>
                        <a:pt x="35890" y="16002"/>
                      </a:lnTo>
                      <a:lnTo>
                        <a:pt x="35890" y="170307"/>
                      </a:lnTo>
                      <a:lnTo>
                        <a:pt x="0" y="170307"/>
                      </a:lnTo>
                      <a:close/>
                      <a:moveTo>
                        <a:pt x="334289" y="0"/>
                      </a:moveTo>
                      <a:lnTo>
                        <a:pt x="371551" y="0"/>
                      </a:lnTo>
                      <a:lnTo>
                        <a:pt x="339547" y="36348"/>
                      </a:lnTo>
                      <a:lnTo>
                        <a:pt x="309372" y="36348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  <a:scene3d>
                  <a:camera prst="isometricLeftDown">
                    <a:rot lat="1500002" lon="2700001" rev="0"/>
                  </a:camera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00"/>
                </a:p>
              </p:txBody>
            </p:sp>
            <p:sp>
              <p:nvSpPr>
                <p:cNvPr id="24" name="Forma Livre 23"/>
                <p:cNvSpPr/>
                <p:nvPr/>
              </p:nvSpPr>
              <p:spPr>
                <a:xfrm>
                  <a:off x="934781" y="2075685"/>
                  <a:ext cx="380466" cy="1732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466" h="173279">
                      <a:moveTo>
                        <a:pt x="207492" y="117043"/>
                      </a:moveTo>
                      <a:cubicBezTo>
                        <a:pt x="198196" y="117043"/>
                        <a:pt x="190995" y="118529"/>
                        <a:pt x="185890" y="121501"/>
                      </a:cubicBezTo>
                      <a:cubicBezTo>
                        <a:pt x="180784" y="124473"/>
                        <a:pt x="178232" y="128702"/>
                        <a:pt x="178232" y="134188"/>
                      </a:cubicBezTo>
                      <a:cubicBezTo>
                        <a:pt x="178232" y="138913"/>
                        <a:pt x="179756" y="142647"/>
                        <a:pt x="182804" y="145390"/>
                      </a:cubicBezTo>
                      <a:cubicBezTo>
                        <a:pt x="185852" y="148133"/>
                        <a:pt x="189890" y="149505"/>
                        <a:pt x="194919" y="149505"/>
                      </a:cubicBezTo>
                      <a:cubicBezTo>
                        <a:pt x="200863" y="149505"/>
                        <a:pt x="205892" y="147371"/>
                        <a:pt x="210007" y="143104"/>
                      </a:cubicBezTo>
                      <a:cubicBezTo>
                        <a:pt x="214122" y="138837"/>
                        <a:pt x="216179" y="133579"/>
                        <a:pt x="216179" y="127330"/>
                      </a:cubicBezTo>
                      <a:lnTo>
                        <a:pt x="216179" y="117272"/>
                      </a:lnTo>
                      <a:cubicBezTo>
                        <a:pt x="214808" y="117120"/>
                        <a:pt x="213398" y="117043"/>
                        <a:pt x="211950" y="117043"/>
                      </a:cubicBezTo>
                      <a:cubicBezTo>
                        <a:pt x="210502" y="117043"/>
                        <a:pt x="209016" y="117043"/>
                        <a:pt x="207492" y="117043"/>
                      </a:cubicBezTo>
                      <a:close/>
                      <a:moveTo>
                        <a:pt x="273939" y="50978"/>
                      </a:moveTo>
                      <a:lnTo>
                        <a:pt x="308686" y="50978"/>
                      </a:lnTo>
                      <a:lnTo>
                        <a:pt x="308686" y="121158"/>
                      </a:lnTo>
                      <a:cubicBezTo>
                        <a:pt x="308686" y="128778"/>
                        <a:pt x="310248" y="134646"/>
                        <a:pt x="313372" y="138760"/>
                      </a:cubicBezTo>
                      <a:cubicBezTo>
                        <a:pt x="316497" y="142875"/>
                        <a:pt x="320954" y="144933"/>
                        <a:pt x="326745" y="144933"/>
                      </a:cubicBezTo>
                      <a:cubicBezTo>
                        <a:pt x="332537" y="144933"/>
                        <a:pt x="337147" y="142837"/>
                        <a:pt x="340576" y="138646"/>
                      </a:cubicBezTo>
                      <a:cubicBezTo>
                        <a:pt x="344005" y="134455"/>
                        <a:pt x="345719" y="128702"/>
                        <a:pt x="345719" y="121387"/>
                      </a:cubicBezTo>
                      <a:lnTo>
                        <a:pt x="345719" y="50978"/>
                      </a:lnTo>
                      <a:lnTo>
                        <a:pt x="380466" y="50978"/>
                      </a:lnTo>
                      <a:lnTo>
                        <a:pt x="380466" y="170307"/>
                      </a:lnTo>
                      <a:lnTo>
                        <a:pt x="350063" y="170307"/>
                      </a:lnTo>
                      <a:lnTo>
                        <a:pt x="348234" y="157277"/>
                      </a:lnTo>
                      <a:cubicBezTo>
                        <a:pt x="344271" y="162459"/>
                        <a:pt x="339357" y="166421"/>
                        <a:pt x="333489" y="169164"/>
                      </a:cubicBezTo>
                      <a:cubicBezTo>
                        <a:pt x="327622" y="171907"/>
                        <a:pt x="321183" y="173279"/>
                        <a:pt x="314172" y="173279"/>
                      </a:cubicBezTo>
                      <a:cubicBezTo>
                        <a:pt x="301980" y="173279"/>
                        <a:pt x="292227" y="169050"/>
                        <a:pt x="284912" y="160592"/>
                      </a:cubicBezTo>
                      <a:cubicBezTo>
                        <a:pt x="277596" y="152133"/>
                        <a:pt x="273939" y="140894"/>
                        <a:pt x="273939" y="126873"/>
                      </a:cubicBezTo>
                      <a:close/>
                      <a:moveTo>
                        <a:pt x="195834" y="48006"/>
                      </a:moveTo>
                      <a:cubicBezTo>
                        <a:pt x="212750" y="48006"/>
                        <a:pt x="225819" y="52502"/>
                        <a:pt x="235039" y="61494"/>
                      </a:cubicBezTo>
                      <a:cubicBezTo>
                        <a:pt x="244259" y="70485"/>
                        <a:pt x="248869" y="83363"/>
                        <a:pt x="248869" y="100127"/>
                      </a:cubicBezTo>
                      <a:lnTo>
                        <a:pt x="248869" y="170307"/>
                      </a:lnTo>
                      <a:lnTo>
                        <a:pt x="220523" y="170307"/>
                      </a:lnTo>
                      <a:lnTo>
                        <a:pt x="218694" y="157734"/>
                      </a:lnTo>
                      <a:cubicBezTo>
                        <a:pt x="215189" y="162611"/>
                        <a:pt x="210426" y="166421"/>
                        <a:pt x="204406" y="169164"/>
                      </a:cubicBezTo>
                      <a:cubicBezTo>
                        <a:pt x="198387" y="171907"/>
                        <a:pt x="191795" y="173279"/>
                        <a:pt x="184632" y="173279"/>
                      </a:cubicBezTo>
                      <a:cubicBezTo>
                        <a:pt x="172745" y="173279"/>
                        <a:pt x="163258" y="170079"/>
                        <a:pt x="156172" y="163678"/>
                      </a:cubicBezTo>
                      <a:cubicBezTo>
                        <a:pt x="149085" y="157277"/>
                        <a:pt x="145542" y="148819"/>
                        <a:pt x="145542" y="138303"/>
                      </a:cubicBezTo>
                      <a:cubicBezTo>
                        <a:pt x="145542" y="124740"/>
                        <a:pt x="150800" y="114186"/>
                        <a:pt x="161315" y="106642"/>
                      </a:cubicBezTo>
                      <a:cubicBezTo>
                        <a:pt x="171831" y="99098"/>
                        <a:pt x="186690" y="95326"/>
                        <a:pt x="205892" y="95326"/>
                      </a:cubicBezTo>
                      <a:cubicBezTo>
                        <a:pt x="207569" y="95326"/>
                        <a:pt x="209245" y="95364"/>
                        <a:pt x="210921" y="95441"/>
                      </a:cubicBezTo>
                      <a:cubicBezTo>
                        <a:pt x="212598" y="95517"/>
                        <a:pt x="214274" y="95631"/>
                        <a:pt x="215951" y="95784"/>
                      </a:cubicBezTo>
                      <a:cubicBezTo>
                        <a:pt x="215189" y="88926"/>
                        <a:pt x="212712" y="83858"/>
                        <a:pt x="208521" y="80582"/>
                      </a:cubicBezTo>
                      <a:cubicBezTo>
                        <a:pt x="204330" y="77305"/>
                        <a:pt x="198196" y="75667"/>
                        <a:pt x="190119" y="75667"/>
                      </a:cubicBezTo>
                      <a:cubicBezTo>
                        <a:pt x="178994" y="75667"/>
                        <a:pt x="167716" y="78639"/>
                        <a:pt x="156286" y="84582"/>
                      </a:cubicBezTo>
                      <a:lnTo>
                        <a:pt x="156286" y="57379"/>
                      </a:lnTo>
                      <a:cubicBezTo>
                        <a:pt x="168478" y="51130"/>
                        <a:pt x="181661" y="48006"/>
                        <a:pt x="195834" y="48006"/>
                      </a:cubicBezTo>
                      <a:close/>
                      <a:moveTo>
                        <a:pt x="73076" y="19888"/>
                      </a:moveTo>
                      <a:lnTo>
                        <a:pt x="107823" y="19888"/>
                      </a:lnTo>
                      <a:lnTo>
                        <a:pt x="107823" y="50978"/>
                      </a:lnTo>
                      <a:lnTo>
                        <a:pt x="132969" y="50978"/>
                      </a:lnTo>
                      <a:lnTo>
                        <a:pt x="132969" y="77496"/>
                      </a:lnTo>
                      <a:lnTo>
                        <a:pt x="107823" y="77496"/>
                      </a:lnTo>
                      <a:lnTo>
                        <a:pt x="107823" y="126187"/>
                      </a:lnTo>
                      <a:cubicBezTo>
                        <a:pt x="107823" y="132588"/>
                        <a:pt x="109118" y="137313"/>
                        <a:pt x="111709" y="140361"/>
                      </a:cubicBezTo>
                      <a:cubicBezTo>
                        <a:pt x="114300" y="143409"/>
                        <a:pt x="118338" y="144933"/>
                        <a:pt x="123825" y="144933"/>
                      </a:cubicBezTo>
                      <a:cubicBezTo>
                        <a:pt x="128092" y="144933"/>
                        <a:pt x="132054" y="144171"/>
                        <a:pt x="135712" y="142647"/>
                      </a:cubicBezTo>
                      <a:lnTo>
                        <a:pt x="135712" y="169393"/>
                      </a:lnTo>
                      <a:cubicBezTo>
                        <a:pt x="128397" y="171526"/>
                        <a:pt x="121691" y="172593"/>
                        <a:pt x="115595" y="172593"/>
                      </a:cubicBezTo>
                      <a:cubicBezTo>
                        <a:pt x="101574" y="172593"/>
                        <a:pt x="90983" y="168974"/>
                        <a:pt x="83820" y="161735"/>
                      </a:cubicBezTo>
                      <a:cubicBezTo>
                        <a:pt x="76657" y="154496"/>
                        <a:pt x="73076" y="143713"/>
                        <a:pt x="73076" y="129388"/>
                      </a:cubicBezTo>
                      <a:lnTo>
                        <a:pt x="73076" y="77496"/>
                      </a:lnTo>
                      <a:lnTo>
                        <a:pt x="54788" y="77496"/>
                      </a:lnTo>
                      <a:lnTo>
                        <a:pt x="54788" y="50978"/>
                      </a:lnTo>
                      <a:lnTo>
                        <a:pt x="73076" y="50978"/>
                      </a:lnTo>
                      <a:close/>
                      <a:moveTo>
                        <a:pt x="0" y="16002"/>
                      </a:moveTo>
                      <a:lnTo>
                        <a:pt x="35890" y="16002"/>
                      </a:lnTo>
                      <a:lnTo>
                        <a:pt x="35890" y="170307"/>
                      </a:lnTo>
                      <a:lnTo>
                        <a:pt x="0" y="170307"/>
                      </a:lnTo>
                      <a:close/>
                      <a:moveTo>
                        <a:pt x="334289" y="0"/>
                      </a:moveTo>
                      <a:lnTo>
                        <a:pt x="371551" y="0"/>
                      </a:lnTo>
                      <a:lnTo>
                        <a:pt x="339547" y="36348"/>
                      </a:lnTo>
                      <a:lnTo>
                        <a:pt x="309372" y="3634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317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  <a:scene3d>
                  <a:camera prst="isometricLeftDown">
                    <a:rot lat="1500002" lon="2700001" rev="0"/>
                  </a:camera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</p:grpSp>
      </p:grpSp>
      <p:sp>
        <p:nvSpPr>
          <p:cNvPr id="134" name="Forma Livre 133"/>
          <p:cNvSpPr/>
          <p:nvPr/>
        </p:nvSpPr>
        <p:spPr>
          <a:xfrm>
            <a:off x="336551" y="443767"/>
            <a:ext cx="2840506" cy="434591"/>
          </a:xfrm>
          <a:custGeom>
            <a:avLst/>
            <a:gdLst/>
            <a:ahLst/>
            <a:cxnLst/>
            <a:rect l="l" t="t" r="r" b="b"/>
            <a:pathLst>
              <a:path w="2502989" h="382952">
                <a:moveTo>
                  <a:pt x="374932" y="209702"/>
                </a:moveTo>
                <a:cubicBezTo>
                  <a:pt x="358276" y="209702"/>
                  <a:pt x="345374" y="212364"/>
                  <a:pt x="336227" y="217689"/>
                </a:cubicBezTo>
                <a:cubicBezTo>
                  <a:pt x="327080" y="223013"/>
                  <a:pt x="322506" y="230590"/>
                  <a:pt x="322506" y="240420"/>
                </a:cubicBezTo>
                <a:cubicBezTo>
                  <a:pt x="322506" y="248885"/>
                  <a:pt x="325237" y="255574"/>
                  <a:pt x="330698" y="260489"/>
                </a:cubicBezTo>
                <a:cubicBezTo>
                  <a:pt x="336159" y="265404"/>
                  <a:pt x="343395" y="267862"/>
                  <a:pt x="352405" y="267862"/>
                </a:cubicBezTo>
                <a:cubicBezTo>
                  <a:pt x="363054" y="267862"/>
                  <a:pt x="372065" y="264039"/>
                  <a:pt x="379437" y="256394"/>
                </a:cubicBezTo>
                <a:cubicBezTo>
                  <a:pt x="386810" y="248748"/>
                  <a:pt x="390496" y="239328"/>
                  <a:pt x="390496" y="228133"/>
                </a:cubicBezTo>
                <a:lnTo>
                  <a:pt x="390496" y="210112"/>
                </a:lnTo>
                <a:cubicBezTo>
                  <a:pt x="388038" y="209839"/>
                  <a:pt x="385513" y="209702"/>
                  <a:pt x="382919" y="209702"/>
                </a:cubicBezTo>
                <a:cubicBezTo>
                  <a:pt x="380325" y="209702"/>
                  <a:pt x="377663" y="209702"/>
                  <a:pt x="374932" y="209702"/>
                </a:cubicBezTo>
                <a:close/>
                <a:moveTo>
                  <a:pt x="2458345" y="198234"/>
                </a:moveTo>
                <a:cubicBezTo>
                  <a:pt x="2429948" y="198234"/>
                  <a:pt x="2408309" y="202466"/>
                  <a:pt x="2393427" y="210931"/>
                </a:cubicBezTo>
                <a:cubicBezTo>
                  <a:pt x="2378546" y="219395"/>
                  <a:pt x="2371105" y="231819"/>
                  <a:pt x="2371105" y="248202"/>
                </a:cubicBezTo>
                <a:cubicBezTo>
                  <a:pt x="2371105" y="261035"/>
                  <a:pt x="2375269" y="271343"/>
                  <a:pt x="2383597" y="279125"/>
                </a:cubicBezTo>
                <a:cubicBezTo>
                  <a:pt x="2391926" y="286907"/>
                  <a:pt x="2403052" y="290798"/>
                  <a:pt x="2416978" y="290798"/>
                </a:cubicBezTo>
                <a:cubicBezTo>
                  <a:pt x="2428719" y="290798"/>
                  <a:pt x="2439368" y="287794"/>
                  <a:pt x="2448925" y="281787"/>
                </a:cubicBezTo>
                <a:cubicBezTo>
                  <a:pt x="2458481" y="275780"/>
                  <a:pt x="2465922" y="268135"/>
                  <a:pt x="2471247" y="258851"/>
                </a:cubicBezTo>
                <a:cubicBezTo>
                  <a:pt x="2476571" y="249567"/>
                  <a:pt x="2479233" y="239601"/>
                  <a:pt x="2479233" y="228952"/>
                </a:cubicBezTo>
                <a:lnTo>
                  <a:pt x="2479233" y="198644"/>
                </a:lnTo>
                <a:cubicBezTo>
                  <a:pt x="2474318" y="198371"/>
                  <a:pt x="2467356" y="198234"/>
                  <a:pt x="2458345" y="198234"/>
                </a:cubicBezTo>
                <a:close/>
                <a:moveTo>
                  <a:pt x="1858270" y="198234"/>
                </a:moveTo>
                <a:cubicBezTo>
                  <a:pt x="1829873" y="198234"/>
                  <a:pt x="1808233" y="202466"/>
                  <a:pt x="1793352" y="210931"/>
                </a:cubicBezTo>
                <a:cubicBezTo>
                  <a:pt x="1778471" y="219395"/>
                  <a:pt x="1771030" y="231819"/>
                  <a:pt x="1771030" y="248202"/>
                </a:cubicBezTo>
                <a:cubicBezTo>
                  <a:pt x="1771030" y="261035"/>
                  <a:pt x="1775194" y="271343"/>
                  <a:pt x="1783522" y="279125"/>
                </a:cubicBezTo>
                <a:cubicBezTo>
                  <a:pt x="1791850" y="286907"/>
                  <a:pt x="1802977" y="290798"/>
                  <a:pt x="1816903" y="290798"/>
                </a:cubicBezTo>
                <a:cubicBezTo>
                  <a:pt x="1828644" y="290798"/>
                  <a:pt x="1839293" y="287794"/>
                  <a:pt x="1848850" y="281787"/>
                </a:cubicBezTo>
                <a:cubicBezTo>
                  <a:pt x="1858406" y="275780"/>
                  <a:pt x="1865847" y="268135"/>
                  <a:pt x="1871171" y="258851"/>
                </a:cubicBezTo>
                <a:cubicBezTo>
                  <a:pt x="1876496" y="249567"/>
                  <a:pt x="1879158" y="239601"/>
                  <a:pt x="1879158" y="228952"/>
                </a:cubicBezTo>
                <a:lnTo>
                  <a:pt x="1879158" y="198644"/>
                </a:lnTo>
                <a:cubicBezTo>
                  <a:pt x="1874243" y="198371"/>
                  <a:pt x="1867281" y="198234"/>
                  <a:pt x="1858270" y="198234"/>
                </a:cubicBezTo>
                <a:close/>
                <a:moveTo>
                  <a:pt x="1045578" y="111404"/>
                </a:moveTo>
                <a:cubicBezTo>
                  <a:pt x="1024826" y="111404"/>
                  <a:pt x="1008306" y="119391"/>
                  <a:pt x="996019" y="135364"/>
                </a:cubicBezTo>
                <a:cubicBezTo>
                  <a:pt x="983732" y="151338"/>
                  <a:pt x="977588" y="172977"/>
                  <a:pt x="977588" y="200282"/>
                </a:cubicBezTo>
                <a:cubicBezTo>
                  <a:pt x="977588" y="227041"/>
                  <a:pt x="983800" y="248543"/>
                  <a:pt x="996224" y="264790"/>
                </a:cubicBezTo>
                <a:cubicBezTo>
                  <a:pt x="1008648" y="281036"/>
                  <a:pt x="1025236" y="289160"/>
                  <a:pt x="1045987" y="289160"/>
                </a:cubicBezTo>
                <a:cubicBezTo>
                  <a:pt x="1066739" y="289160"/>
                  <a:pt x="1083259" y="281105"/>
                  <a:pt x="1095546" y="264995"/>
                </a:cubicBezTo>
                <a:cubicBezTo>
                  <a:pt x="1107833" y="248885"/>
                  <a:pt x="1113977" y="227314"/>
                  <a:pt x="1113977" y="200282"/>
                </a:cubicBezTo>
                <a:cubicBezTo>
                  <a:pt x="1113977" y="173523"/>
                  <a:pt x="1107765" y="152020"/>
                  <a:pt x="1095341" y="135774"/>
                </a:cubicBezTo>
                <a:cubicBezTo>
                  <a:pt x="1082917" y="119527"/>
                  <a:pt x="1066330" y="111404"/>
                  <a:pt x="1045578" y="111404"/>
                </a:cubicBezTo>
                <a:close/>
                <a:moveTo>
                  <a:pt x="1624860" y="110994"/>
                </a:moveTo>
                <a:cubicBezTo>
                  <a:pt x="1605473" y="110994"/>
                  <a:pt x="1589909" y="119118"/>
                  <a:pt x="1578168" y="135364"/>
                </a:cubicBezTo>
                <a:cubicBezTo>
                  <a:pt x="1566427" y="151611"/>
                  <a:pt x="1560556" y="172977"/>
                  <a:pt x="1560556" y="199463"/>
                </a:cubicBezTo>
                <a:cubicBezTo>
                  <a:pt x="1560556" y="217757"/>
                  <a:pt x="1563355" y="233730"/>
                  <a:pt x="1568953" y="247383"/>
                </a:cubicBezTo>
                <a:cubicBezTo>
                  <a:pt x="1574550" y="261035"/>
                  <a:pt x="1582196" y="271480"/>
                  <a:pt x="1591889" y="278715"/>
                </a:cubicBezTo>
                <a:cubicBezTo>
                  <a:pt x="1601582" y="285951"/>
                  <a:pt x="1612572" y="289569"/>
                  <a:pt x="1624860" y="289569"/>
                </a:cubicBezTo>
                <a:cubicBezTo>
                  <a:pt x="1645065" y="289569"/>
                  <a:pt x="1661107" y="281514"/>
                  <a:pt x="1672985" y="265404"/>
                </a:cubicBezTo>
                <a:cubicBezTo>
                  <a:pt x="1684862" y="249294"/>
                  <a:pt x="1690801" y="227450"/>
                  <a:pt x="1690801" y="199872"/>
                </a:cubicBezTo>
                <a:cubicBezTo>
                  <a:pt x="1690801" y="172567"/>
                  <a:pt x="1684862" y="150928"/>
                  <a:pt x="1672985" y="134955"/>
                </a:cubicBezTo>
                <a:cubicBezTo>
                  <a:pt x="1661107" y="118981"/>
                  <a:pt x="1645065" y="110994"/>
                  <a:pt x="1624860" y="110994"/>
                </a:cubicBezTo>
                <a:close/>
                <a:moveTo>
                  <a:pt x="1405785" y="110994"/>
                </a:moveTo>
                <a:cubicBezTo>
                  <a:pt x="1386398" y="110994"/>
                  <a:pt x="1370834" y="119118"/>
                  <a:pt x="1359093" y="135364"/>
                </a:cubicBezTo>
                <a:cubicBezTo>
                  <a:pt x="1347352" y="151611"/>
                  <a:pt x="1341481" y="172977"/>
                  <a:pt x="1341481" y="199463"/>
                </a:cubicBezTo>
                <a:cubicBezTo>
                  <a:pt x="1341481" y="217757"/>
                  <a:pt x="1344280" y="233730"/>
                  <a:pt x="1349878" y="247383"/>
                </a:cubicBezTo>
                <a:cubicBezTo>
                  <a:pt x="1355475" y="261035"/>
                  <a:pt x="1363121" y="271480"/>
                  <a:pt x="1372814" y="278715"/>
                </a:cubicBezTo>
                <a:cubicBezTo>
                  <a:pt x="1382507" y="285951"/>
                  <a:pt x="1393497" y="289569"/>
                  <a:pt x="1405785" y="289569"/>
                </a:cubicBezTo>
                <a:cubicBezTo>
                  <a:pt x="1425990" y="289569"/>
                  <a:pt x="1442032" y="281514"/>
                  <a:pt x="1453910" y="265404"/>
                </a:cubicBezTo>
                <a:cubicBezTo>
                  <a:pt x="1465787" y="249294"/>
                  <a:pt x="1471726" y="227450"/>
                  <a:pt x="1471726" y="199872"/>
                </a:cubicBezTo>
                <a:cubicBezTo>
                  <a:pt x="1471726" y="172567"/>
                  <a:pt x="1465787" y="150928"/>
                  <a:pt x="1453910" y="134955"/>
                </a:cubicBezTo>
                <a:cubicBezTo>
                  <a:pt x="1442032" y="118981"/>
                  <a:pt x="1425990" y="110994"/>
                  <a:pt x="1405785" y="110994"/>
                </a:cubicBezTo>
                <a:close/>
                <a:moveTo>
                  <a:pt x="1260967" y="91335"/>
                </a:moveTo>
                <a:cubicBezTo>
                  <a:pt x="1268066" y="91335"/>
                  <a:pt x="1274346" y="92291"/>
                  <a:pt x="1279807" y="94202"/>
                </a:cubicBezTo>
                <a:lnTo>
                  <a:pt x="1279807" y="115909"/>
                </a:lnTo>
                <a:cubicBezTo>
                  <a:pt x="1274346" y="113998"/>
                  <a:pt x="1267929" y="113042"/>
                  <a:pt x="1260557" y="113042"/>
                </a:cubicBezTo>
                <a:cubicBezTo>
                  <a:pt x="1244993" y="113042"/>
                  <a:pt x="1232501" y="119323"/>
                  <a:pt x="1223081" y="131883"/>
                </a:cubicBezTo>
                <a:cubicBezTo>
                  <a:pt x="1213661" y="144443"/>
                  <a:pt x="1208951" y="161099"/>
                  <a:pt x="1208951" y="181851"/>
                </a:cubicBezTo>
                <a:lnTo>
                  <a:pt x="1208951" y="305133"/>
                </a:lnTo>
                <a:lnTo>
                  <a:pt x="1185195" y="305133"/>
                </a:lnTo>
                <a:lnTo>
                  <a:pt x="1185195" y="95431"/>
                </a:lnTo>
                <a:lnTo>
                  <a:pt x="1206084" y="95431"/>
                </a:lnTo>
                <a:lnTo>
                  <a:pt x="1207722" y="127787"/>
                </a:lnTo>
                <a:cubicBezTo>
                  <a:pt x="1212637" y="116319"/>
                  <a:pt x="1219804" y="107377"/>
                  <a:pt x="1229224" y="100960"/>
                </a:cubicBezTo>
                <a:cubicBezTo>
                  <a:pt x="1238645" y="94543"/>
                  <a:pt x="1249225" y="91335"/>
                  <a:pt x="1260967" y="91335"/>
                </a:cubicBezTo>
                <a:close/>
                <a:moveTo>
                  <a:pt x="491204" y="91335"/>
                </a:moveTo>
                <a:lnTo>
                  <a:pt x="553459" y="91335"/>
                </a:lnTo>
                <a:lnTo>
                  <a:pt x="553459" y="217074"/>
                </a:lnTo>
                <a:cubicBezTo>
                  <a:pt x="553459" y="230727"/>
                  <a:pt x="556258" y="241239"/>
                  <a:pt x="561855" y="248612"/>
                </a:cubicBezTo>
                <a:cubicBezTo>
                  <a:pt x="567453" y="255984"/>
                  <a:pt x="575440" y="259670"/>
                  <a:pt x="585816" y="259670"/>
                </a:cubicBezTo>
                <a:cubicBezTo>
                  <a:pt x="596191" y="259670"/>
                  <a:pt x="604451" y="255916"/>
                  <a:pt x="610595" y="248407"/>
                </a:cubicBezTo>
                <a:cubicBezTo>
                  <a:pt x="616738" y="240898"/>
                  <a:pt x="619810" y="230590"/>
                  <a:pt x="619810" y="217484"/>
                </a:cubicBezTo>
                <a:lnTo>
                  <a:pt x="619810" y="91335"/>
                </a:lnTo>
                <a:lnTo>
                  <a:pt x="682066" y="91335"/>
                </a:lnTo>
                <a:lnTo>
                  <a:pt x="682066" y="305133"/>
                </a:lnTo>
                <a:lnTo>
                  <a:pt x="627592" y="305133"/>
                </a:lnTo>
                <a:lnTo>
                  <a:pt x="624316" y="281787"/>
                </a:lnTo>
                <a:cubicBezTo>
                  <a:pt x="617216" y="291071"/>
                  <a:pt x="608410" y="298170"/>
                  <a:pt x="597898" y="303085"/>
                </a:cubicBezTo>
                <a:cubicBezTo>
                  <a:pt x="587385" y="308000"/>
                  <a:pt x="575849" y="310458"/>
                  <a:pt x="563289" y="310458"/>
                </a:cubicBezTo>
                <a:cubicBezTo>
                  <a:pt x="541445" y="310458"/>
                  <a:pt x="523970" y="302880"/>
                  <a:pt x="510863" y="287726"/>
                </a:cubicBezTo>
                <a:cubicBezTo>
                  <a:pt x="497757" y="272572"/>
                  <a:pt x="491204" y="252434"/>
                  <a:pt x="491204" y="227314"/>
                </a:cubicBezTo>
                <a:close/>
                <a:moveTo>
                  <a:pt x="2426398" y="90106"/>
                </a:moveTo>
                <a:cubicBezTo>
                  <a:pt x="2450972" y="90106"/>
                  <a:pt x="2469881" y="97410"/>
                  <a:pt x="2483124" y="112018"/>
                </a:cubicBezTo>
                <a:cubicBezTo>
                  <a:pt x="2496367" y="126627"/>
                  <a:pt x="2502989" y="147583"/>
                  <a:pt x="2502989" y="174888"/>
                </a:cubicBezTo>
                <a:lnTo>
                  <a:pt x="2502989" y="305133"/>
                </a:lnTo>
                <a:lnTo>
                  <a:pt x="2482100" y="305133"/>
                </a:lnTo>
                <a:lnTo>
                  <a:pt x="2480462" y="274415"/>
                </a:lnTo>
                <a:cubicBezTo>
                  <a:pt x="2474182" y="285610"/>
                  <a:pt x="2464966" y="294416"/>
                  <a:pt x="2452815" y="300833"/>
                </a:cubicBezTo>
                <a:cubicBezTo>
                  <a:pt x="2440665" y="307249"/>
                  <a:pt x="2427490" y="310458"/>
                  <a:pt x="2413292" y="310458"/>
                </a:cubicBezTo>
                <a:cubicBezTo>
                  <a:pt x="2393359" y="310458"/>
                  <a:pt x="2377385" y="304997"/>
                  <a:pt x="2365371" y="294075"/>
                </a:cubicBezTo>
                <a:cubicBezTo>
                  <a:pt x="2353357" y="283153"/>
                  <a:pt x="2347350" y="268544"/>
                  <a:pt x="2347350" y="250250"/>
                </a:cubicBezTo>
                <a:cubicBezTo>
                  <a:pt x="2347350" y="227041"/>
                  <a:pt x="2357112" y="209292"/>
                  <a:pt x="2376635" y="197005"/>
                </a:cubicBezTo>
                <a:cubicBezTo>
                  <a:pt x="2396158" y="184718"/>
                  <a:pt x="2424487" y="178574"/>
                  <a:pt x="2461621" y="178574"/>
                </a:cubicBezTo>
                <a:cubicBezTo>
                  <a:pt x="2464625" y="178574"/>
                  <a:pt x="2467628" y="178574"/>
                  <a:pt x="2470632" y="178574"/>
                </a:cubicBezTo>
                <a:cubicBezTo>
                  <a:pt x="2473636" y="178574"/>
                  <a:pt x="2476503" y="178711"/>
                  <a:pt x="2479233" y="178984"/>
                </a:cubicBezTo>
                <a:lnTo>
                  <a:pt x="2479233" y="177346"/>
                </a:lnTo>
                <a:cubicBezTo>
                  <a:pt x="2479233" y="154956"/>
                  <a:pt x="2474728" y="138368"/>
                  <a:pt x="2465717" y="127582"/>
                </a:cubicBezTo>
                <a:cubicBezTo>
                  <a:pt x="2456706" y="116797"/>
                  <a:pt x="2442917" y="111404"/>
                  <a:pt x="2424350" y="111404"/>
                </a:cubicBezTo>
                <a:cubicBezTo>
                  <a:pt x="2403052" y="111404"/>
                  <a:pt x="2382846" y="117821"/>
                  <a:pt x="2363733" y="130654"/>
                </a:cubicBezTo>
                <a:lnTo>
                  <a:pt x="2363733" y="108537"/>
                </a:lnTo>
                <a:cubicBezTo>
                  <a:pt x="2382573" y="96250"/>
                  <a:pt x="2403462" y="90106"/>
                  <a:pt x="2426398" y="90106"/>
                </a:cubicBezTo>
                <a:close/>
                <a:moveTo>
                  <a:pt x="2258529" y="90106"/>
                </a:moveTo>
                <a:cubicBezTo>
                  <a:pt x="2279281" y="90106"/>
                  <a:pt x="2296074" y="94338"/>
                  <a:pt x="2308907" y="102803"/>
                </a:cubicBezTo>
                <a:lnTo>
                  <a:pt x="2308907" y="125739"/>
                </a:lnTo>
                <a:cubicBezTo>
                  <a:pt x="2297166" y="116455"/>
                  <a:pt x="2280783" y="111814"/>
                  <a:pt x="2259758" y="111814"/>
                </a:cubicBezTo>
                <a:cubicBezTo>
                  <a:pt x="2237368" y="111814"/>
                  <a:pt x="2219688" y="119732"/>
                  <a:pt x="2206718" y="135569"/>
                </a:cubicBezTo>
                <a:cubicBezTo>
                  <a:pt x="2193748" y="151406"/>
                  <a:pt x="2187263" y="172977"/>
                  <a:pt x="2187263" y="200282"/>
                </a:cubicBezTo>
                <a:cubicBezTo>
                  <a:pt x="2187263" y="227041"/>
                  <a:pt x="2193817" y="248475"/>
                  <a:pt x="2206923" y="264585"/>
                </a:cubicBezTo>
                <a:cubicBezTo>
                  <a:pt x="2220029" y="280695"/>
                  <a:pt x="2237778" y="288750"/>
                  <a:pt x="2260168" y="288750"/>
                </a:cubicBezTo>
                <a:cubicBezTo>
                  <a:pt x="2279827" y="288750"/>
                  <a:pt x="2297303" y="283562"/>
                  <a:pt x="2312593" y="273186"/>
                </a:cubicBezTo>
                <a:lnTo>
                  <a:pt x="2312593" y="295713"/>
                </a:lnTo>
                <a:cubicBezTo>
                  <a:pt x="2295937" y="305543"/>
                  <a:pt x="2277779" y="310458"/>
                  <a:pt x="2258120" y="310458"/>
                </a:cubicBezTo>
                <a:cubicBezTo>
                  <a:pt x="2229177" y="310458"/>
                  <a:pt x="2206104" y="300559"/>
                  <a:pt x="2188902" y="280763"/>
                </a:cubicBezTo>
                <a:cubicBezTo>
                  <a:pt x="2171700" y="260967"/>
                  <a:pt x="2163098" y="234277"/>
                  <a:pt x="2163098" y="200691"/>
                </a:cubicBezTo>
                <a:cubicBezTo>
                  <a:pt x="2163098" y="178301"/>
                  <a:pt x="2167194" y="158778"/>
                  <a:pt x="2175386" y="142122"/>
                </a:cubicBezTo>
                <a:cubicBezTo>
                  <a:pt x="2183577" y="125466"/>
                  <a:pt x="2194841" y="112633"/>
                  <a:pt x="2209176" y="103622"/>
                </a:cubicBezTo>
                <a:cubicBezTo>
                  <a:pt x="2223511" y="94611"/>
                  <a:pt x="2239962" y="90106"/>
                  <a:pt x="2258529" y="90106"/>
                </a:cubicBezTo>
                <a:close/>
                <a:moveTo>
                  <a:pt x="2045189" y="90106"/>
                </a:moveTo>
                <a:cubicBezTo>
                  <a:pt x="2067306" y="90106"/>
                  <a:pt x="2084917" y="97683"/>
                  <a:pt x="2098024" y="112838"/>
                </a:cubicBezTo>
                <a:cubicBezTo>
                  <a:pt x="2111130" y="127992"/>
                  <a:pt x="2117683" y="148539"/>
                  <a:pt x="2117683" y="174479"/>
                </a:cubicBezTo>
                <a:lnTo>
                  <a:pt x="2117683" y="305133"/>
                </a:lnTo>
                <a:lnTo>
                  <a:pt x="2093928" y="305133"/>
                </a:lnTo>
                <a:lnTo>
                  <a:pt x="2093928" y="177755"/>
                </a:lnTo>
                <a:cubicBezTo>
                  <a:pt x="2093928" y="156730"/>
                  <a:pt x="2089218" y="140416"/>
                  <a:pt x="2079798" y="128811"/>
                </a:cubicBezTo>
                <a:cubicBezTo>
                  <a:pt x="2070377" y="117206"/>
                  <a:pt x="2057203" y="111404"/>
                  <a:pt x="2040274" y="111404"/>
                </a:cubicBezTo>
                <a:cubicBezTo>
                  <a:pt x="2022525" y="111404"/>
                  <a:pt x="2008122" y="117548"/>
                  <a:pt x="1997063" y="129835"/>
                </a:cubicBezTo>
                <a:cubicBezTo>
                  <a:pt x="1986005" y="142122"/>
                  <a:pt x="1980476" y="157959"/>
                  <a:pt x="1980476" y="177346"/>
                </a:cubicBezTo>
                <a:lnTo>
                  <a:pt x="1980476" y="305133"/>
                </a:lnTo>
                <a:lnTo>
                  <a:pt x="1956720" y="305133"/>
                </a:lnTo>
                <a:lnTo>
                  <a:pt x="1956720" y="95431"/>
                </a:lnTo>
                <a:lnTo>
                  <a:pt x="1977609" y="95431"/>
                </a:lnTo>
                <a:lnTo>
                  <a:pt x="1979247" y="126968"/>
                </a:lnTo>
                <a:cubicBezTo>
                  <a:pt x="1986073" y="115227"/>
                  <a:pt x="1995220" y="106148"/>
                  <a:pt x="2006688" y="99731"/>
                </a:cubicBezTo>
                <a:cubicBezTo>
                  <a:pt x="2018156" y="93314"/>
                  <a:pt x="2030990" y="90106"/>
                  <a:pt x="2045189" y="90106"/>
                </a:cubicBezTo>
                <a:close/>
                <a:moveTo>
                  <a:pt x="1826323" y="90106"/>
                </a:moveTo>
                <a:cubicBezTo>
                  <a:pt x="1850898" y="90106"/>
                  <a:pt x="1869806" y="97410"/>
                  <a:pt x="1883049" y="112018"/>
                </a:cubicBezTo>
                <a:cubicBezTo>
                  <a:pt x="1896292" y="126627"/>
                  <a:pt x="1902914" y="147583"/>
                  <a:pt x="1902914" y="174888"/>
                </a:cubicBezTo>
                <a:lnTo>
                  <a:pt x="1902914" y="305133"/>
                </a:lnTo>
                <a:lnTo>
                  <a:pt x="1882025" y="305133"/>
                </a:lnTo>
                <a:lnTo>
                  <a:pt x="1880387" y="274415"/>
                </a:lnTo>
                <a:cubicBezTo>
                  <a:pt x="1874107" y="285610"/>
                  <a:pt x="1864891" y="294416"/>
                  <a:pt x="1852741" y="300833"/>
                </a:cubicBezTo>
                <a:cubicBezTo>
                  <a:pt x="1840590" y="307249"/>
                  <a:pt x="1827415" y="310458"/>
                  <a:pt x="1813217" y="310458"/>
                </a:cubicBezTo>
                <a:cubicBezTo>
                  <a:pt x="1793284" y="310458"/>
                  <a:pt x="1777311" y="304997"/>
                  <a:pt x="1765296" y="294075"/>
                </a:cubicBezTo>
                <a:cubicBezTo>
                  <a:pt x="1753282" y="283153"/>
                  <a:pt x="1747275" y="268544"/>
                  <a:pt x="1747275" y="250250"/>
                </a:cubicBezTo>
                <a:cubicBezTo>
                  <a:pt x="1747275" y="227041"/>
                  <a:pt x="1757037" y="209292"/>
                  <a:pt x="1776560" y="197005"/>
                </a:cubicBezTo>
                <a:cubicBezTo>
                  <a:pt x="1796083" y="184718"/>
                  <a:pt x="1824412" y="178574"/>
                  <a:pt x="1861546" y="178574"/>
                </a:cubicBezTo>
                <a:cubicBezTo>
                  <a:pt x="1864550" y="178574"/>
                  <a:pt x="1867554" y="178574"/>
                  <a:pt x="1870557" y="178574"/>
                </a:cubicBezTo>
                <a:cubicBezTo>
                  <a:pt x="1873561" y="178574"/>
                  <a:pt x="1876428" y="178711"/>
                  <a:pt x="1879158" y="178984"/>
                </a:cubicBezTo>
                <a:lnTo>
                  <a:pt x="1879158" y="177346"/>
                </a:lnTo>
                <a:cubicBezTo>
                  <a:pt x="1879158" y="154956"/>
                  <a:pt x="1874653" y="138368"/>
                  <a:pt x="1865642" y="127582"/>
                </a:cubicBezTo>
                <a:cubicBezTo>
                  <a:pt x="1856632" y="116797"/>
                  <a:pt x="1842843" y="111404"/>
                  <a:pt x="1824275" y="111404"/>
                </a:cubicBezTo>
                <a:cubicBezTo>
                  <a:pt x="1802977" y="111404"/>
                  <a:pt x="1782772" y="117821"/>
                  <a:pt x="1763658" y="130654"/>
                </a:cubicBezTo>
                <a:lnTo>
                  <a:pt x="1763658" y="108537"/>
                </a:lnTo>
                <a:cubicBezTo>
                  <a:pt x="1782499" y="96250"/>
                  <a:pt x="1803387" y="90106"/>
                  <a:pt x="1826323" y="90106"/>
                </a:cubicBezTo>
                <a:close/>
                <a:moveTo>
                  <a:pt x="1411109" y="90106"/>
                </a:moveTo>
                <a:cubicBezTo>
                  <a:pt x="1428311" y="90106"/>
                  <a:pt x="1443329" y="94816"/>
                  <a:pt x="1456162" y="104237"/>
                </a:cubicBezTo>
                <a:cubicBezTo>
                  <a:pt x="1468996" y="113657"/>
                  <a:pt x="1478826" y="126558"/>
                  <a:pt x="1485652" y="142941"/>
                </a:cubicBezTo>
                <a:cubicBezTo>
                  <a:pt x="1492478" y="159324"/>
                  <a:pt x="1495891" y="178028"/>
                  <a:pt x="1495891" y="199053"/>
                </a:cubicBezTo>
                <a:cubicBezTo>
                  <a:pt x="1495891" y="232911"/>
                  <a:pt x="1487904" y="259943"/>
                  <a:pt x="1471931" y="280149"/>
                </a:cubicBezTo>
                <a:cubicBezTo>
                  <a:pt x="1455958" y="300355"/>
                  <a:pt x="1434728" y="310458"/>
                  <a:pt x="1408242" y="310458"/>
                </a:cubicBezTo>
                <a:cubicBezTo>
                  <a:pt x="1393770" y="310458"/>
                  <a:pt x="1380869" y="307044"/>
                  <a:pt x="1369537" y="300218"/>
                </a:cubicBezTo>
                <a:cubicBezTo>
                  <a:pt x="1358206" y="293392"/>
                  <a:pt x="1349127" y="283562"/>
                  <a:pt x="1342301" y="270729"/>
                </a:cubicBezTo>
                <a:lnTo>
                  <a:pt x="1342301" y="382952"/>
                </a:lnTo>
                <a:lnTo>
                  <a:pt x="1318545" y="382952"/>
                </a:lnTo>
                <a:lnTo>
                  <a:pt x="1318545" y="95431"/>
                </a:lnTo>
                <a:lnTo>
                  <a:pt x="1339433" y="95431"/>
                </a:lnTo>
                <a:lnTo>
                  <a:pt x="1341481" y="133521"/>
                </a:lnTo>
                <a:cubicBezTo>
                  <a:pt x="1347762" y="120142"/>
                  <a:pt x="1357113" y="109561"/>
                  <a:pt x="1369537" y="101779"/>
                </a:cubicBezTo>
                <a:cubicBezTo>
                  <a:pt x="1381961" y="93997"/>
                  <a:pt x="1395818" y="90106"/>
                  <a:pt x="1411109" y="90106"/>
                </a:cubicBezTo>
                <a:close/>
                <a:moveTo>
                  <a:pt x="1045987" y="90106"/>
                </a:moveTo>
                <a:cubicBezTo>
                  <a:pt x="1064555" y="90106"/>
                  <a:pt x="1080869" y="94816"/>
                  <a:pt x="1094932" y="104237"/>
                </a:cubicBezTo>
                <a:cubicBezTo>
                  <a:pt x="1108994" y="113657"/>
                  <a:pt x="1119711" y="126627"/>
                  <a:pt x="1127083" y="143146"/>
                </a:cubicBezTo>
                <a:cubicBezTo>
                  <a:pt x="1134456" y="159666"/>
                  <a:pt x="1138142" y="178574"/>
                  <a:pt x="1138142" y="199872"/>
                </a:cubicBezTo>
                <a:cubicBezTo>
                  <a:pt x="1138142" y="222262"/>
                  <a:pt x="1134114" y="241785"/>
                  <a:pt x="1126059" y="258441"/>
                </a:cubicBezTo>
                <a:cubicBezTo>
                  <a:pt x="1118004" y="275098"/>
                  <a:pt x="1107014" y="287931"/>
                  <a:pt x="1093088" y="296942"/>
                </a:cubicBezTo>
                <a:cubicBezTo>
                  <a:pt x="1079163" y="305952"/>
                  <a:pt x="1063326" y="310458"/>
                  <a:pt x="1045578" y="310458"/>
                </a:cubicBezTo>
                <a:cubicBezTo>
                  <a:pt x="1027010" y="310458"/>
                  <a:pt x="1010764" y="305679"/>
                  <a:pt x="996838" y="296122"/>
                </a:cubicBezTo>
                <a:cubicBezTo>
                  <a:pt x="982913" y="286566"/>
                  <a:pt x="972196" y="273528"/>
                  <a:pt x="964687" y="257008"/>
                </a:cubicBezTo>
                <a:cubicBezTo>
                  <a:pt x="957178" y="240488"/>
                  <a:pt x="953423" y="221716"/>
                  <a:pt x="953423" y="200691"/>
                </a:cubicBezTo>
                <a:cubicBezTo>
                  <a:pt x="953423" y="178301"/>
                  <a:pt x="957451" y="158778"/>
                  <a:pt x="965506" y="142122"/>
                </a:cubicBezTo>
                <a:cubicBezTo>
                  <a:pt x="973561" y="125466"/>
                  <a:pt x="984551" y="112633"/>
                  <a:pt x="998477" y="103622"/>
                </a:cubicBezTo>
                <a:cubicBezTo>
                  <a:pt x="1012402" y="94611"/>
                  <a:pt x="1028239" y="90106"/>
                  <a:pt x="1045987" y="90106"/>
                </a:cubicBezTo>
                <a:close/>
                <a:moveTo>
                  <a:pt x="354044" y="86010"/>
                </a:moveTo>
                <a:cubicBezTo>
                  <a:pt x="384352" y="86010"/>
                  <a:pt x="407766" y="94065"/>
                  <a:pt x="424286" y="110175"/>
                </a:cubicBezTo>
                <a:cubicBezTo>
                  <a:pt x="440805" y="126285"/>
                  <a:pt x="449065" y="149358"/>
                  <a:pt x="449065" y="179394"/>
                </a:cubicBezTo>
                <a:lnTo>
                  <a:pt x="449065" y="305133"/>
                </a:lnTo>
                <a:lnTo>
                  <a:pt x="398278" y="305133"/>
                </a:lnTo>
                <a:lnTo>
                  <a:pt x="395001" y="282606"/>
                </a:lnTo>
                <a:cubicBezTo>
                  <a:pt x="388721" y="291344"/>
                  <a:pt x="380188" y="298170"/>
                  <a:pt x="369403" y="303085"/>
                </a:cubicBezTo>
                <a:cubicBezTo>
                  <a:pt x="358617" y="308000"/>
                  <a:pt x="346808" y="310458"/>
                  <a:pt x="333974" y="310458"/>
                </a:cubicBezTo>
                <a:cubicBezTo>
                  <a:pt x="312677" y="310458"/>
                  <a:pt x="295679" y="304723"/>
                  <a:pt x="282982" y="293255"/>
                </a:cubicBezTo>
                <a:cubicBezTo>
                  <a:pt x="270286" y="281787"/>
                  <a:pt x="263937" y="266633"/>
                  <a:pt x="263937" y="247793"/>
                </a:cubicBezTo>
                <a:cubicBezTo>
                  <a:pt x="263937" y="223491"/>
                  <a:pt x="273357" y="204582"/>
                  <a:pt x="292198" y="191066"/>
                </a:cubicBezTo>
                <a:cubicBezTo>
                  <a:pt x="311038" y="177550"/>
                  <a:pt x="337661" y="170792"/>
                  <a:pt x="372065" y="170792"/>
                </a:cubicBezTo>
                <a:cubicBezTo>
                  <a:pt x="375069" y="170792"/>
                  <a:pt x="378072" y="170861"/>
                  <a:pt x="381076" y="170997"/>
                </a:cubicBezTo>
                <a:cubicBezTo>
                  <a:pt x="384079" y="171134"/>
                  <a:pt x="387083" y="171339"/>
                  <a:pt x="390086" y="171612"/>
                </a:cubicBezTo>
                <a:cubicBezTo>
                  <a:pt x="388721" y="159324"/>
                  <a:pt x="384284" y="150245"/>
                  <a:pt x="376775" y="144375"/>
                </a:cubicBezTo>
                <a:cubicBezTo>
                  <a:pt x="369266" y="138504"/>
                  <a:pt x="358276" y="135569"/>
                  <a:pt x="343804" y="135569"/>
                </a:cubicBezTo>
                <a:cubicBezTo>
                  <a:pt x="323872" y="135569"/>
                  <a:pt x="303666" y="140893"/>
                  <a:pt x="283187" y="151542"/>
                </a:cubicBezTo>
                <a:lnTo>
                  <a:pt x="283187" y="102803"/>
                </a:lnTo>
                <a:cubicBezTo>
                  <a:pt x="305031" y="91608"/>
                  <a:pt x="328650" y="86010"/>
                  <a:pt x="354044" y="86010"/>
                </a:cubicBezTo>
                <a:close/>
                <a:moveTo>
                  <a:pt x="125768" y="35633"/>
                </a:moveTo>
                <a:lnTo>
                  <a:pt x="188023" y="35633"/>
                </a:lnTo>
                <a:lnTo>
                  <a:pt x="188023" y="91335"/>
                </a:lnTo>
                <a:lnTo>
                  <a:pt x="233076" y="91335"/>
                </a:lnTo>
                <a:lnTo>
                  <a:pt x="233076" y="138846"/>
                </a:lnTo>
                <a:lnTo>
                  <a:pt x="188023" y="138846"/>
                </a:lnTo>
                <a:lnTo>
                  <a:pt x="188023" y="226085"/>
                </a:lnTo>
                <a:cubicBezTo>
                  <a:pt x="188023" y="237553"/>
                  <a:pt x="190344" y="246018"/>
                  <a:pt x="194986" y="251479"/>
                </a:cubicBezTo>
                <a:cubicBezTo>
                  <a:pt x="199628" y="256940"/>
                  <a:pt x="206863" y="259670"/>
                  <a:pt x="216693" y="259670"/>
                </a:cubicBezTo>
                <a:cubicBezTo>
                  <a:pt x="224339" y="259670"/>
                  <a:pt x="231438" y="258305"/>
                  <a:pt x="237991" y="255574"/>
                </a:cubicBezTo>
                <a:lnTo>
                  <a:pt x="237991" y="303495"/>
                </a:lnTo>
                <a:cubicBezTo>
                  <a:pt x="224885" y="307317"/>
                  <a:pt x="212871" y="309229"/>
                  <a:pt x="201948" y="309229"/>
                </a:cubicBezTo>
                <a:cubicBezTo>
                  <a:pt x="176828" y="309229"/>
                  <a:pt x="157851" y="302744"/>
                  <a:pt x="145018" y="289774"/>
                </a:cubicBezTo>
                <a:cubicBezTo>
                  <a:pt x="132184" y="276804"/>
                  <a:pt x="125768" y="257486"/>
                  <a:pt x="125768" y="231819"/>
                </a:cubicBezTo>
                <a:lnTo>
                  <a:pt x="125768" y="138846"/>
                </a:lnTo>
                <a:lnTo>
                  <a:pt x="93002" y="138846"/>
                </a:lnTo>
                <a:lnTo>
                  <a:pt x="93002" y="91335"/>
                </a:lnTo>
                <a:lnTo>
                  <a:pt x="125768" y="91335"/>
                </a:lnTo>
                <a:close/>
                <a:moveTo>
                  <a:pt x="0" y="28670"/>
                </a:moveTo>
                <a:lnTo>
                  <a:pt x="64303" y="28670"/>
                </a:lnTo>
                <a:lnTo>
                  <a:pt x="64303" y="305133"/>
                </a:lnTo>
                <a:lnTo>
                  <a:pt x="0" y="305133"/>
                </a:lnTo>
                <a:close/>
                <a:moveTo>
                  <a:pt x="840219" y="23345"/>
                </a:moveTo>
                <a:cubicBezTo>
                  <a:pt x="853052" y="23345"/>
                  <a:pt x="865612" y="25257"/>
                  <a:pt x="877900" y="29079"/>
                </a:cubicBezTo>
                <a:cubicBezTo>
                  <a:pt x="890187" y="32902"/>
                  <a:pt x="900563" y="38090"/>
                  <a:pt x="909027" y="44643"/>
                </a:cubicBezTo>
                <a:lnTo>
                  <a:pt x="909027" y="69627"/>
                </a:lnTo>
                <a:cubicBezTo>
                  <a:pt x="901382" y="62255"/>
                  <a:pt x="891347" y="56316"/>
                  <a:pt x="878924" y="51811"/>
                </a:cubicBezTo>
                <a:cubicBezTo>
                  <a:pt x="866500" y="47306"/>
                  <a:pt x="854008" y="45053"/>
                  <a:pt x="841448" y="45053"/>
                </a:cubicBezTo>
                <a:cubicBezTo>
                  <a:pt x="820696" y="45053"/>
                  <a:pt x="802811" y="50104"/>
                  <a:pt x="787793" y="60207"/>
                </a:cubicBezTo>
                <a:cubicBezTo>
                  <a:pt x="772775" y="70310"/>
                  <a:pt x="761307" y="84509"/>
                  <a:pt x="753389" y="102803"/>
                </a:cubicBezTo>
                <a:cubicBezTo>
                  <a:pt x="745470" y="121097"/>
                  <a:pt x="741511" y="142395"/>
                  <a:pt x="741511" y="166697"/>
                </a:cubicBezTo>
                <a:cubicBezTo>
                  <a:pt x="741511" y="191817"/>
                  <a:pt x="745743" y="213525"/>
                  <a:pt x="754208" y="231819"/>
                </a:cubicBezTo>
                <a:cubicBezTo>
                  <a:pt x="762673" y="250113"/>
                  <a:pt x="774414" y="264107"/>
                  <a:pt x="789431" y="273801"/>
                </a:cubicBezTo>
                <a:cubicBezTo>
                  <a:pt x="804449" y="283494"/>
                  <a:pt x="821788" y="288340"/>
                  <a:pt x="841448" y="288340"/>
                </a:cubicBezTo>
                <a:cubicBezTo>
                  <a:pt x="868479" y="288340"/>
                  <a:pt x="892644" y="279330"/>
                  <a:pt x="913942" y="261309"/>
                </a:cubicBezTo>
                <a:lnTo>
                  <a:pt x="913942" y="286293"/>
                </a:lnTo>
                <a:cubicBezTo>
                  <a:pt x="892917" y="302403"/>
                  <a:pt x="868070" y="310458"/>
                  <a:pt x="839400" y="310458"/>
                </a:cubicBezTo>
                <a:cubicBezTo>
                  <a:pt x="814279" y="310458"/>
                  <a:pt x="792435" y="304450"/>
                  <a:pt x="773868" y="292436"/>
                </a:cubicBezTo>
                <a:cubicBezTo>
                  <a:pt x="755300" y="280422"/>
                  <a:pt x="741102" y="263698"/>
                  <a:pt x="731272" y="242263"/>
                </a:cubicBezTo>
                <a:cubicBezTo>
                  <a:pt x="721442" y="220829"/>
                  <a:pt x="716527" y="196050"/>
                  <a:pt x="716527" y="167925"/>
                </a:cubicBezTo>
                <a:cubicBezTo>
                  <a:pt x="716527" y="138709"/>
                  <a:pt x="721852" y="113179"/>
                  <a:pt x="732501" y="91335"/>
                </a:cubicBezTo>
                <a:cubicBezTo>
                  <a:pt x="743150" y="69491"/>
                  <a:pt x="757758" y="52698"/>
                  <a:pt x="776325" y="40957"/>
                </a:cubicBezTo>
                <a:cubicBezTo>
                  <a:pt x="794892" y="29216"/>
                  <a:pt x="816190" y="23345"/>
                  <a:pt x="840219" y="23345"/>
                </a:cubicBezTo>
                <a:close/>
                <a:moveTo>
                  <a:pt x="1537620" y="0"/>
                </a:moveTo>
                <a:lnTo>
                  <a:pt x="1561376" y="0"/>
                </a:lnTo>
                <a:lnTo>
                  <a:pt x="1561376" y="131883"/>
                </a:lnTo>
                <a:cubicBezTo>
                  <a:pt x="1567929" y="119049"/>
                  <a:pt x="1577349" y="108878"/>
                  <a:pt x="1589636" y="101369"/>
                </a:cubicBezTo>
                <a:cubicBezTo>
                  <a:pt x="1601923" y="93861"/>
                  <a:pt x="1615439" y="90106"/>
                  <a:pt x="1630184" y="90106"/>
                </a:cubicBezTo>
                <a:cubicBezTo>
                  <a:pt x="1647386" y="90106"/>
                  <a:pt x="1662404" y="94816"/>
                  <a:pt x="1675237" y="104237"/>
                </a:cubicBezTo>
                <a:cubicBezTo>
                  <a:pt x="1688071" y="113657"/>
                  <a:pt x="1697901" y="126558"/>
                  <a:pt x="1704727" y="142941"/>
                </a:cubicBezTo>
                <a:cubicBezTo>
                  <a:pt x="1711553" y="159324"/>
                  <a:pt x="1714966" y="178028"/>
                  <a:pt x="1714966" y="199053"/>
                </a:cubicBezTo>
                <a:cubicBezTo>
                  <a:pt x="1714966" y="232911"/>
                  <a:pt x="1706979" y="259943"/>
                  <a:pt x="1691006" y="280149"/>
                </a:cubicBezTo>
                <a:cubicBezTo>
                  <a:pt x="1675033" y="300355"/>
                  <a:pt x="1653803" y="310458"/>
                  <a:pt x="1627317" y="310458"/>
                </a:cubicBezTo>
                <a:cubicBezTo>
                  <a:pt x="1612299" y="310458"/>
                  <a:pt x="1599056" y="306840"/>
                  <a:pt x="1587588" y="299604"/>
                </a:cubicBezTo>
                <a:cubicBezTo>
                  <a:pt x="1576120" y="292368"/>
                  <a:pt x="1566973" y="282060"/>
                  <a:pt x="1560147" y="268681"/>
                </a:cubicBezTo>
                <a:lnTo>
                  <a:pt x="1558508" y="305133"/>
                </a:lnTo>
                <a:lnTo>
                  <a:pt x="1537620" y="305133"/>
                </a:lnTo>
                <a:close/>
                <a:moveTo>
                  <a:pt x="599332" y="0"/>
                </a:moveTo>
                <a:lnTo>
                  <a:pt x="666092" y="0"/>
                </a:lnTo>
                <a:lnTo>
                  <a:pt x="608752" y="65122"/>
                </a:lnTo>
                <a:lnTo>
                  <a:pt x="554688" y="6512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L" altLang="pt-BR" sz="1001" b="0" kern="120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Información</a:t>
            </a:r>
            <a:r>
              <a:rPr lang="es-CL" altLang="pt-BR" sz="1001" b="0" kern="1200" baseline="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 Restringida</a:t>
            </a:r>
            <a:endParaRPr lang="es-CL" altLang="pt-BR" sz="1001" b="0" kern="1200" noProof="0" dirty="0">
              <a:solidFill>
                <a:schemeClr val="accent6"/>
              </a:solidFill>
              <a:latin typeface="+mj-lt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137" name="Imagem 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06200" y="6305731"/>
            <a:ext cx="381000" cy="390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75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sória de Capítul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5086033" y="2506499"/>
            <a:ext cx="6769415" cy="1419466"/>
          </a:xfrm>
        </p:spPr>
        <p:txBody>
          <a:bodyPr anchor="b">
            <a:normAutofit/>
          </a:bodyPr>
          <a:lstStyle>
            <a:lvl1pPr marL="0" indent="0">
              <a:buFont typeface="+mj-lt"/>
              <a:buNone/>
              <a:defRPr sz="4800" b="0">
                <a:solidFill>
                  <a:schemeClr val="accent5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r>
              <a:rPr lang="pt-BR" dirty="0"/>
              <a:t>Divisória de Capítulo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0"/>
          </p:nvPr>
        </p:nvSpPr>
        <p:spPr>
          <a:xfrm>
            <a:off x="5088174" y="4066162"/>
            <a:ext cx="6740970" cy="202666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  <a:latin typeface="+mj-lt"/>
              </a:defRPr>
            </a:lvl1pPr>
            <a:lvl2pPr>
              <a:defRPr sz="2400">
                <a:solidFill>
                  <a:schemeClr val="accent6"/>
                </a:solidFill>
              </a:defRPr>
            </a:lvl2pPr>
            <a:lvl3pPr>
              <a:defRPr sz="2400">
                <a:solidFill>
                  <a:schemeClr val="accent6"/>
                </a:solidFill>
              </a:defRPr>
            </a:lvl3pPr>
            <a:lvl4pPr>
              <a:defRPr sz="2400">
                <a:solidFill>
                  <a:schemeClr val="accent6"/>
                </a:solidFill>
              </a:defRPr>
            </a:lvl4pPr>
            <a:lvl5pPr>
              <a:defRPr sz="24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pic>
        <p:nvPicPr>
          <p:cNvPr id="119" name="Imagem 118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-7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1190563"/>
            <a:ext cx="4401693" cy="5529551"/>
          </a:xfrm>
          <a:prstGeom prst="rect">
            <a:avLst/>
          </a:prstGeom>
        </p:spPr>
      </p:pic>
      <p:grpSp>
        <p:nvGrpSpPr>
          <p:cNvPr id="120" name="Agrupar 119"/>
          <p:cNvGrpSpPr/>
          <p:nvPr/>
        </p:nvGrpSpPr>
        <p:grpSpPr>
          <a:xfrm>
            <a:off x="1860524" y="3425410"/>
            <a:ext cx="298866" cy="298866"/>
            <a:chOff x="2493936" y="4897021"/>
            <a:chExt cx="310774" cy="310774"/>
          </a:xfrm>
        </p:grpSpPr>
        <p:sp>
          <p:nvSpPr>
            <p:cNvPr id="121" name="Retângulo Arredondado 120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2" name="Retângulo Arredondado 121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thinThick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2322487" y="4158834"/>
            <a:ext cx="298866" cy="298866"/>
            <a:chOff x="2493936" y="4897021"/>
            <a:chExt cx="310774" cy="310774"/>
          </a:xfrm>
        </p:grpSpPr>
        <p:sp>
          <p:nvSpPr>
            <p:cNvPr id="124" name="Retângulo Arredondado 123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5" name="Retângulo Arredondado 124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thickThin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6" name="Agrupar 125"/>
          <p:cNvGrpSpPr/>
          <p:nvPr/>
        </p:nvGrpSpPr>
        <p:grpSpPr>
          <a:xfrm>
            <a:off x="2503462" y="5073234"/>
            <a:ext cx="298866" cy="298866"/>
            <a:chOff x="2493936" y="4897021"/>
            <a:chExt cx="310774" cy="310774"/>
          </a:xfrm>
        </p:grpSpPr>
        <p:sp>
          <p:nvSpPr>
            <p:cNvPr id="127" name="Retângulo Arredondado 126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bg1"/>
                </a:solidFill>
              </a:endParaRPr>
            </a:p>
          </p:txBody>
        </p:sp>
        <p:sp>
          <p:nvSpPr>
            <p:cNvPr id="128" name="Retângulo Arredondado 127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dbl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bg1"/>
                </a:solidFill>
              </a:endParaRPr>
            </a:p>
          </p:txBody>
        </p:sp>
      </p:grpSp>
      <p:sp>
        <p:nvSpPr>
          <p:cNvPr id="17" name="Forma Livre 16"/>
          <p:cNvSpPr/>
          <p:nvPr/>
        </p:nvSpPr>
        <p:spPr>
          <a:xfrm>
            <a:off x="336551" y="443767"/>
            <a:ext cx="2840506" cy="434591"/>
          </a:xfrm>
          <a:custGeom>
            <a:avLst/>
            <a:gdLst/>
            <a:ahLst/>
            <a:cxnLst/>
            <a:rect l="l" t="t" r="r" b="b"/>
            <a:pathLst>
              <a:path w="2502989" h="382952">
                <a:moveTo>
                  <a:pt x="374932" y="209702"/>
                </a:moveTo>
                <a:cubicBezTo>
                  <a:pt x="358276" y="209702"/>
                  <a:pt x="345374" y="212364"/>
                  <a:pt x="336227" y="217689"/>
                </a:cubicBezTo>
                <a:cubicBezTo>
                  <a:pt x="327080" y="223013"/>
                  <a:pt x="322506" y="230590"/>
                  <a:pt x="322506" y="240420"/>
                </a:cubicBezTo>
                <a:cubicBezTo>
                  <a:pt x="322506" y="248885"/>
                  <a:pt x="325237" y="255574"/>
                  <a:pt x="330698" y="260489"/>
                </a:cubicBezTo>
                <a:cubicBezTo>
                  <a:pt x="336159" y="265404"/>
                  <a:pt x="343395" y="267862"/>
                  <a:pt x="352405" y="267862"/>
                </a:cubicBezTo>
                <a:cubicBezTo>
                  <a:pt x="363054" y="267862"/>
                  <a:pt x="372065" y="264039"/>
                  <a:pt x="379437" y="256394"/>
                </a:cubicBezTo>
                <a:cubicBezTo>
                  <a:pt x="386810" y="248748"/>
                  <a:pt x="390496" y="239328"/>
                  <a:pt x="390496" y="228133"/>
                </a:cubicBezTo>
                <a:lnTo>
                  <a:pt x="390496" y="210112"/>
                </a:lnTo>
                <a:cubicBezTo>
                  <a:pt x="388038" y="209839"/>
                  <a:pt x="385513" y="209702"/>
                  <a:pt x="382919" y="209702"/>
                </a:cubicBezTo>
                <a:cubicBezTo>
                  <a:pt x="380325" y="209702"/>
                  <a:pt x="377663" y="209702"/>
                  <a:pt x="374932" y="209702"/>
                </a:cubicBezTo>
                <a:close/>
                <a:moveTo>
                  <a:pt x="2458345" y="198234"/>
                </a:moveTo>
                <a:cubicBezTo>
                  <a:pt x="2429948" y="198234"/>
                  <a:pt x="2408309" y="202466"/>
                  <a:pt x="2393427" y="210931"/>
                </a:cubicBezTo>
                <a:cubicBezTo>
                  <a:pt x="2378546" y="219395"/>
                  <a:pt x="2371105" y="231819"/>
                  <a:pt x="2371105" y="248202"/>
                </a:cubicBezTo>
                <a:cubicBezTo>
                  <a:pt x="2371105" y="261035"/>
                  <a:pt x="2375269" y="271343"/>
                  <a:pt x="2383597" y="279125"/>
                </a:cubicBezTo>
                <a:cubicBezTo>
                  <a:pt x="2391926" y="286907"/>
                  <a:pt x="2403052" y="290798"/>
                  <a:pt x="2416978" y="290798"/>
                </a:cubicBezTo>
                <a:cubicBezTo>
                  <a:pt x="2428719" y="290798"/>
                  <a:pt x="2439368" y="287794"/>
                  <a:pt x="2448925" y="281787"/>
                </a:cubicBezTo>
                <a:cubicBezTo>
                  <a:pt x="2458481" y="275780"/>
                  <a:pt x="2465922" y="268135"/>
                  <a:pt x="2471247" y="258851"/>
                </a:cubicBezTo>
                <a:cubicBezTo>
                  <a:pt x="2476571" y="249567"/>
                  <a:pt x="2479233" y="239601"/>
                  <a:pt x="2479233" y="228952"/>
                </a:cubicBezTo>
                <a:lnTo>
                  <a:pt x="2479233" y="198644"/>
                </a:lnTo>
                <a:cubicBezTo>
                  <a:pt x="2474318" y="198371"/>
                  <a:pt x="2467356" y="198234"/>
                  <a:pt x="2458345" y="198234"/>
                </a:cubicBezTo>
                <a:close/>
                <a:moveTo>
                  <a:pt x="1858270" y="198234"/>
                </a:moveTo>
                <a:cubicBezTo>
                  <a:pt x="1829873" y="198234"/>
                  <a:pt x="1808233" y="202466"/>
                  <a:pt x="1793352" y="210931"/>
                </a:cubicBezTo>
                <a:cubicBezTo>
                  <a:pt x="1778471" y="219395"/>
                  <a:pt x="1771030" y="231819"/>
                  <a:pt x="1771030" y="248202"/>
                </a:cubicBezTo>
                <a:cubicBezTo>
                  <a:pt x="1771030" y="261035"/>
                  <a:pt x="1775194" y="271343"/>
                  <a:pt x="1783522" y="279125"/>
                </a:cubicBezTo>
                <a:cubicBezTo>
                  <a:pt x="1791850" y="286907"/>
                  <a:pt x="1802977" y="290798"/>
                  <a:pt x="1816903" y="290798"/>
                </a:cubicBezTo>
                <a:cubicBezTo>
                  <a:pt x="1828644" y="290798"/>
                  <a:pt x="1839293" y="287794"/>
                  <a:pt x="1848850" y="281787"/>
                </a:cubicBezTo>
                <a:cubicBezTo>
                  <a:pt x="1858406" y="275780"/>
                  <a:pt x="1865847" y="268135"/>
                  <a:pt x="1871171" y="258851"/>
                </a:cubicBezTo>
                <a:cubicBezTo>
                  <a:pt x="1876496" y="249567"/>
                  <a:pt x="1879158" y="239601"/>
                  <a:pt x="1879158" y="228952"/>
                </a:cubicBezTo>
                <a:lnTo>
                  <a:pt x="1879158" y="198644"/>
                </a:lnTo>
                <a:cubicBezTo>
                  <a:pt x="1874243" y="198371"/>
                  <a:pt x="1867281" y="198234"/>
                  <a:pt x="1858270" y="198234"/>
                </a:cubicBezTo>
                <a:close/>
                <a:moveTo>
                  <a:pt x="1045578" y="111404"/>
                </a:moveTo>
                <a:cubicBezTo>
                  <a:pt x="1024826" y="111404"/>
                  <a:pt x="1008306" y="119391"/>
                  <a:pt x="996019" y="135364"/>
                </a:cubicBezTo>
                <a:cubicBezTo>
                  <a:pt x="983732" y="151338"/>
                  <a:pt x="977588" y="172977"/>
                  <a:pt x="977588" y="200282"/>
                </a:cubicBezTo>
                <a:cubicBezTo>
                  <a:pt x="977588" y="227041"/>
                  <a:pt x="983800" y="248543"/>
                  <a:pt x="996224" y="264790"/>
                </a:cubicBezTo>
                <a:cubicBezTo>
                  <a:pt x="1008648" y="281036"/>
                  <a:pt x="1025236" y="289160"/>
                  <a:pt x="1045987" y="289160"/>
                </a:cubicBezTo>
                <a:cubicBezTo>
                  <a:pt x="1066739" y="289160"/>
                  <a:pt x="1083259" y="281105"/>
                  <a:pt x="1095546" y="264995"/>
                </a:cubicBezTo>
                <a:cubicBezTo>
                  <a:pt x="1107833" y="248885"/>
                  <a:pt x="1113977" y="227314"/>
                  <a:pt x="1113977" y="200282"/>
                </a:cubicBezTo>
                <a:cubicBezTo>
                  <a:pt x="1113977" y="173523"/>
                  <a:pt x="1107765" y="152020"/>
                  <a:pt x="1095341" y="135774"/>
                </a:cubicBezTo>
                <a:cubicBezTo>
                  <a:pt x="1082917" y="119527"/>
                  <a:pt x="1066330" y="111404"/>
                  <a:pt x="1045578" y="111404"/>
                </a:cubicBezTo>
                <a:close/>
                <a:moveTo>
                  <a:pt x="1624860" y="110994"/>
                </a:moveTo>
                <a:cubicBezTo>
                  <a:pt x="1605473" y="110994"/>
                  <a:pt x="1589909" y="119118"/>
                  <a:pt x="1578168" y="135364"/>
                </a:cubicBezTo>
                <a:cubicBezTo>
                  <a:pt x="1566427" y="151611"/>
                  <a:pt x="1560556" y="172977"/>
                  <a:pt x="1560556" y="199463"/>
                </a:cubicBezTo>
                <a:cubicBezTo>
                  <a:pt x="1560556" y="217757"/>
                  <a:pt x="1563355" y="233730"/>
                  <a:pt x="1568953" y="247383"/>
                </a:cubicBezTo>
                <a:cubicBezTo>
                  <a:pt x="1574550" y="261035"/>
                  <a:pt x="1582196" y="271480"/>
                  <a:pt x="1591889" y="278715"/>
                </a:cubicBezTo>
                <a:cubicBezTo>
                  <a:pt x="1601582" y="285951"/>
                  <a:pt x="1612572" y="289569"/>
                  <a:pt x="1624860" y="289569"/>
                </a:cubicBezTo>
                <a:cubicBezTo>
                  <a:pt x="1645065" y="289569"/>
                  <a:pt x="1661107" y="281514"/>
                  <a:pt x="1672985" y="265404"/>
                </a:cubicBezTo>
                <a:cubicBezTo>
                  <a:pt x="1684862" y="249294"/>
                  <a:pt x="1690801" y="227450"/>
                  <a:pt x="1690801" y="199872"/>
                </a:cubicBezTo>
                <a:cubicBezTo>
                  <a:pt x="1690801" y="172567"/>
                  <a:pt x="1684862" y="150928"/>
                  <a:pt x="1672985" y="134955"/>
                </a:cubicBezTo>
                <a:cubicBezTo>
                  <a:pt x="1661107" y="118981"/>
                  <a:pt x="1645065" y="110994"/>
                  <a:pt x="1624860" y="110994"/>
                </a:cubicBezTo>
                <a:close/>
                <a:moveTo>
                  <a:pt x="1405785" y="110994"/>
                </a:moveTo>
                <a:cubicBezTo>
                  <a:pt x="1386398" y="110994"/>
                  <a:pt x="1370834" y="119118"/>
                  <a:pt x="1359093" y="135364"/>
                </a:cubicBezTo>
                <a:cubicBezTo>
                  <a:pt x="1347352" y="151611"/>
                  <a:pt x="1341481" y="172977"/>
                  <a:pt x="1341481" y="199463"/>
                </a:cubicBezTo>
                <a:cubicBezTo>
                  <a:pt x="1341481" y="217757"/>
                  <a:pt x="1344280" y="233730"/>
                  <a:pt x="1349878" y="247383"/>
                </a:cubicBezTo>
                <a:cubicBezTo>
                  <a:pt x="1355475" y="261035"/>
                  <a:pt x="1363121" y="271480"/>
                  <a:pt x="1372814" y="278715"/>
                </a:cubicBezTo>
                <a:cubicBezTo>
                  <a:pt x="1382507" y="285951"/>
                  <a:pt x="1393497" y="289569"/>
                  <a:pt x="1405785" y="289569"/>
                </a:cubicBezTo>
                <a:cubicBezTo>
                  <a:pt x="1425990" y="289569"/>
                  <a:pt x="1442032" y="281514"/>
                  <a:pt x="1453910" y="265404"/>
                </a:cubicBezTo>
                <a:cubicBezTo>
                  <a:pt x="1465787" y="249294"/>
                  <a:pt x="1471726" y="227450"/>
                  <a:pt x="1471726" y="199872"/>
                </a:cubicBezTo>
                <a:cubicBezTo>
                  <a:pt x="1471726" y="172567"/>
                  <a:pt x="1465787" y="150928"/>
                  <a:pt x="1453910" y="134955"/>
                </a:cubicBezTo>
                <a:cubicBezTo>
                  <a:pt x="1442032" y="118981"/>
                  <a:pt x="1425990" y="110994"/>
                  <a:pt x="1405785" y="110994"/>
                </a:cubicBezTo>
                <a:close/>
                <a:moveTo>
                  <a:pt x="1260967" y="91335"/>
                </a:moveTo>
                <a:cubicBezTo>
                  <a:pt x="1268066" y="91335"/>
                  <a:pt x="1274346" y="92291"/>
                  <a:pt x="1279807" y="94202"/>
                </a:cubicBezTo>
                <a:lnTo>
                  <a:pt x="1279807" y="115909"/>
                </a:lnTo>
                <a:cubicBezTo>
                  <a:pt x="1274346" y="113998"/>
                  <a:pt x="1267929" y="113042"/>
                  <a:pt x="1260557" y="113042"/>
                </a:cubicBezTo>
                <a:cubicBezTo>
                  <a:pt x="1244993" y="113042"/>
                  <a:pt x="1232501" y="119323"/>
                  <a:pt x="1223081" y="131883"/>
                </a:cubicBezTo>
                <a:cubicBezTo>
                  <a:pt x="1213661" y="144443"/>
                  <a:pt x="1208951" y="161099"/>
                  <a:pt x="1208951" y="181851"/>
                </a:cubicBezTo>
                <a:lnTo>
                  <a:pt x="1208951" y="305133"/>
                </a:lnTo>
                <a:lnTo>
                  <a:pt x="1185195" y="305133"/>
                </a:lnTo>
                <a:lnTo>
                  <a:pt x="1185195" y="95431"/>
                </a:lnTo>
                <a:lnTo>
                  <a:pt x="1206084" y="95431"/>
                </a:lnTo>
                <a:lnTo>
                  <a:pt x="1207722" y="127787"/>
                </a:lnTo>
                <a:cubicBezTo>
                  <a:pt x="1212637" y="116319"/>
                  <a:pt x="1219804" y="107377"/>
                  <a:pt x="1229224" y="100960"/>
                </a:cubicBezTo>
                <a:cubicBezTo>
                  <a:pt x="1238645" y="94543"/>
                  <a:pt x="1249225" y="91335"/>
                  <a:pt x="1260967" y="91335"/>
                </a:cubicBezTo>
                <a:close/>
                <a:moveTo>
                  <a:pt x="491204" y="91335"/>
                </a:moveTo>
                <a:lnTo>
                  <a:pt x="553459" y="91335"/>
                </a:lnTo>
                <a:lnTo>
                  <a:pt x="553459" y="217074"/>
                </a:lnTo>
                <a:cubicBezTo>
                  <a:pt x="553459" y="230727"/>
                  <a:pt x="556258" y="241239"/>
                  <a:pt x="561855" y="248612"/>
                </a:cubicBezTo>
                <a:cubicBezTo>
                  <a:pt x="567453" y="255984"/>
                  <a:pt x="575440" y="259670"/>
                  <a:pt x="585816" y="259670"/>
                </a:cubicBezTo>
                <a:cubicBezTo>
                  <a:pt x="596191" y="259670"/>
                  <a:pt x="604451" y="255916"/>
                  <a:pt x="610595" y="248407"/>
                </a:cubicBezTo>
                <a:cubicBezTo>
                  <a:pt x="616738" y="240898"/>
                  <a:pt x="619810" y="230590"/>
                  <a:pt x="619810" y="217484"/>
                </a:cubicBezTo>
                <a:lnTo>
                  <a:pt x="619810" y="91335"/>
                </a:lnTo>
                <a:lnTo>
                  <a:pt x="682066" y="91335"/>
                </a:lnTo>
                <a:lnTo>
                  <a:pt x="682066" y="305133"/>
                </a:lnTo>
                <a:lnTo>
                  <a:pt x="627592" y="305133"/>
                </a:lnTo>
                <a:lnTo>
                  <a:pt x="624316" y="281787"/>
                </a:lnTo>
                <a:cubicBezTo>
                  <a:pt x="617216" y="291071"/>
                  <a:pt x="608410" y="298170"/>
                  <a:pt x="597898" y="303085"/>
                </a:cubicBezTo>
                <a:cubicBezTo>
                  <a:pt x="587385" y="308000"/>
                  <a:pt x="575849" y="310458"/>
                  <a:pt x="563289" y="310458"/>
                </a:cubicBezTo>
                <a:cubicBezTo>
                  <a:pt x="541445" y="310458"/>
                  <a:pt x="523970" y="302880"/>
                  <a:pt x="510863" y="287726"/>
                </a:cubicBezTo>
                <a:cubicBezTo>
                  <a:pt x="497757" y="272572"/>
                  <a:pt x="491204" y="252434"/>
                  <a:pt x="491204" y="227314"/>
                </a:cubicBezTo>
                <a:close/>
                <a:moveTo>
                  <a:pt x="2426398" y="90106"/>
                </a:moveTo>
                <a:cubicBezTo>
                  <a:pt x="2450972" y="90106"/>
                  <a:pt x="2469881" y="97410"/>
                  <a:pt x="2483124" y="112018"/>
                </a:cubicBezTo>
                <a:cubicBezTo>
                  <a:pt x="2496367" y="126627"/>
                  <a:pt x="2502989" y="147583"/>
                  <a:pt x="2502989" y="174888"/>
                </a:cubicBezTo>
                <a:lnTo>
                  <a:pt x="2502989" y="305133"/>
                </a:lnTo>
                <a:lnTo>
                  <a:pt x="2482100" y="305133"/>
                </a:lnTo>
                <a:lnTo>
                  <a:pt x="2480462" y="274415"/>
                </a:lnTo>
                <a:cubicBezTo>
                  <a:pt x="2474182" y="285610"/>
                  <a:pt x="2464966" y="294416"/>
                  <a:pt x="2452815" y="300833"/>
                </a:cubicBezTo>
                <a:cubicBezTo>
                  <a:pt x="2440665" y="307249"/>
                  <a:pt x="2427490" y="310458"/>
                  <a:pt x="2413292" y="310458"/>
                </a:cubicBezTo>
                <a:cubicBezTo>
                  <a:pt x="2393359" y="310458"/>
                  <a:pt x="2377385" y="304997"/>
                  <a:pt x="2365371" y="294075"/>
                </a:cubicBezTo>
                <a:cubicBezTo>
                  <a:pt x="2353357" y="283153"/>
                  <a:pt x="2347350" y="268544"/>
                  <a:pt x="2347350" y="250250"/>
                </a:cubicBezTo>
                <a:cubicBezTo>
                  <a:pt x="2347350" y="227041"/>
                  <a:pt x="2357112" y="209292"/>
                  <a:pt x="2376635" y="197005"/>
                </a:cubicBezTo>
                <a:cubicBezTo>
                  <a:pt x="2396158" y="184718"/>
                  <a:pt x="2424487" y="178574"/>
                  <a:pt x="2461621" y="178574"/>
                </a:cubicBezTo>
                <a:cubicBezTo>
                  <a:pt x="2464625" y="178574"/>
                  <a:pt x="2467628" y="178574"/>
                  <a:pt x="2470632" y="178574"/>
                </a:cubicBezTo>
                <a:cubicBezTo>
                  <a:pt x="2473636" y="178574"/>
                  <a:pt x="2476503" y="178711"/>
                  <a:pt x="2479233" y="178984"/>
                </a:cubicBezTo>
                <a:lnTo>
                  <a:pt x="2479233" y="177346"/>
                </a:lnTo>
                <a:cubicBezTo>
                  <a:pt x="2479233" y="154956"/>
                  <a:pt x="2474728" y="138368"/>
                  <a:pt x="2465717" y="127582"/>
                </a:cubicBezTo>
                <a:cubicBezTo>
                  <a:pt x="2456706" y="116797"/>
                  <a:pt x="2442917" y="111404"/>
                  <a:pt x="2424350" y="111404"/>
                </a:cubicBezTo>
                <a:cubicBezTo>
                  <a:pt x="2403052" y="111404"/>
                  <a:pt x="2382846" y="117821"/>
                  <a:pt x="2363733" y="130654"/>
                </a:cubicBezTo>
                <a:lnTo>
                  <a:pt x="2363733" y="108537"/>
                </a:lnTo>
                <a:cubicBezTo>
                  <a:pt x="2382573" y="96250"/>
                  <a:pt x="2403462" y="90106"/>
                  <a:pt x="2426398" y="90106"/>
                </a:cubicBezTo>
                <a:close/>
                <a:moveTo>
                  <a:pt x="2258529" y="90106"/>
                </a:moveTo>
                <a:cubicBezTo>
                  <a:pt x="2279281" y="90106"/>
                  <a:pt x="2296074" y="94338"/>
                  <a:pt x="2308907" y="102803"/>
                </a:cubicBezTo>
                <a:lnTo>
                  <a:pt x="2308907" y="125739"/>
                </a:lnTo>
                <a:cubicBezTo>
                  <a:pt x="2297166" y="116455"/>
                  <a:pt x="2280783" y="111814"/>
                  <a:pt x="2259758" y="111814"/>
                </a:cubicBezTo>
                <a:cubicBezTo>
                  <a:pt x="2237368" y="111814"/>
                  <a:pt x="2219688" y="119732"/>
                  <a:pt x="2206718" y="135569"/>
                </a:cubicBezTo>
                <a:cubicBezTo>
                  <a:pt x="2193748" y="151406"/>
                  <a:pt x="2187263" y="172977"/>
                  <a:pt x="2187263" y="200282"/>
                </a:cubicBezTo>
                <a:cubicBezTo>
                  <a:pt x="2187263" y="227041"/>
                  <a:pt x="2193817" y="248475"/>
                  <a:pt x="2206923" y="264585"/>
                </a:cubicBezTo>
                <a:cubicBezTo>
                  <a:pt x="2220029" y="280695"/>
                  <a:pt x="2237778" y="288750"/>
                  <a:pt x="2260168" y="288750"/>
                </a:cubicBezTo>
                <a:cubicBezTo>
                  <a:pt x="2279827" y="288750"/>
                  <a:pt x="2297303" y="283562"/>
                  <a:pt x="2312593" y="273186"/>
                </a:cubicBezTo>
                <a:lnTo>
                  <a:pt x="2312593" y="295713"/>
                </a:lnTo>
                <a:cubicBezTo>
                  <a:pt x="2295937" y="305543"/>
                  <a:pt x="2277779" y="310458"/>
                  <a:pt x="2258120" y="310458"/>
                </a:cubicBezTo>
                <a:cubicBezTo>
                  <a:pt x="2229177" y="310458"/>
                  <a:pt x="2206104" y="300559"/>
                  <a:pt x="2188902" y="280763"/>
                </a:cubicBezTo>
                <a:cubicBezTo>
                  <a:pt x="2171700" y="260967"/>
                  <a:pt x="2163098" y="234277"/>
                  <a:pt x="2163098" y="200691"/>
                </a:cubicBezTo>
                <a:cubicBezTo>
                  <a:pt x="2163098" y="178301"/>
                  <a:pt x="2167194" y="158778"/>
                  <a:pt x="2175386" y="142122"/>
                </a:cubicBezTo>
                <a:cubicBezTo>
                  <a:pt x="2183577" y="125466"/>
                  <a:pt x="2194841" y="112633"/>
                  <a:pt x="2209176" y="103622"/>
                </a:cubicBezTo>
                <a:cubicBezTo>
                  <a:pt x="2223511" y="94611"/>
                  <a:pt x="2239962" y="90106"/>
                  <a:pt x="2258529" y="90106"/>
                </a:cubicBezTo>
                <a:close/>
                <a:moveTo>
                  <a:pt x="2045189" y="90106"/>
                </a:moveTo>
                <a:cubicBezTo>
                  <a:pt x="2067306" y="90106"/>
                  <a:pt x="2084917" y="97683"/>
                  <a:pt x="2098024" y="112838"/>
                </a:cubicBezTo>
                <a:cubicBezTo>
                  <a:pt x="2111130" y="127992"/>
                  <a:pt x="2117683" y="148539"/>
                  <a:pt x="2117683" y="174479"/>
                </a:cubicBezTo>
                <a:lnTo>
                  <a:pt x="2117683" y="305133"/>
                </a:lnTo>
                <a:lnTo>
                  <a:pt x="2093928" y="305133"/>
                </a:lnTo>
                <a:lnTo>
                  <a:pt x="2093928" y="177755"/>
                </a:lnTo>
                <a:cubicBezTo>
                  <a:pt x="2093928" y="156730"/>
                  <a:pt x="2089218" y="140416"/>
                  <a:pt x="2079798" y="128811"/>
                </a:cubicBezTo>
                <a:cubicBezTo>
                  <a:pt x="2070377" y="117206"/>
                  <a:pt x="2057203" y="111404"/>
                  <a:pt x="2040274" y="111404"/>
                </a:cubicBezTo>
                <a:cubicBezTo>
                  <a:pt x="2022525" y="111404"/>
                  <a:pt x="2008122" y="117548"/>
                  <a:pt x="1997063" y="129835"/>
                </a:cubicBezTo>
                <a:cubicBezTo>
                  <a:pt x="1986005" y="142122"/>
                  <a:pt x="1980476" y="157959"/>
                  <a:pt x="1980476" y="177346"/>
                </a:cubicBezTo>
                <a:lnTo>
                  <a:pt x="1980476" y="305133"/>
                </a:lnTo>
                <a:lnTo>
                  <a:pt x="1956720" y="305133"/>
                </a:lnTo>
                <a:lnTo>
                  <a:pt x="1956720" y="95431"/>
                </a:lnTo>
                <a:lnTo>
                  <a:pt x="1977609" y="95431"/>
                </a:lnTo>
                <a:lnTo>
                  <a:pt x="1979247" y="126968"/>
                </a:lnTo>
                <a:cubicBezTo>
                  <a:pt x="1986073" y="115227"/>
                  <a:pt x="1995220" y="106148"/>
                  <a:pt x="2006688" y="99731"/>
                </a:cubicBezTo>
                <a:cubicBezTo>
                  <a:pt x="2018156" y="93314"/>
                  <a:pt x="2030990" y="90106"/>
                  <a:pt x="2045189" y="90106"/>
                </a:cubicBezTo>
                <a:close/>
                <a:moveTo>
                  <a:pt x="1826323" y="90106"/>
                </a:moveTo>
                <a:cubicBezTo>
                  <a:pt x="1850898" y="90106"/>
                  <a:pt x="1869806" y="97410"/>
                  <a:pt x="1883049" y="112018"/>
                </a:cubicBezTo>
                <a:cubicBezTo>
                  <a:pt x="1896292" y="126627"/>
                  <a:pt x="1902914" y="147583"/>
                  <a:pt x="1902914" y="174888"/>
                </a:cubicBezTo>
                <a:lnTo>
                  <a:pt x="1902914" y="305133"/>
                </a:lnTo>
                <a:lnTo>
                  <a:pt x="1882025" y="305133"/>
                </a:lnTo>
                <a:lnTo>
                  <a:pt x="1880387" y="274415"/>
                </a:lnTo>
                <a:cubicBezTo>
                  <a:pt x="1874107" y="285610"/>
                  <a:pt x="1864891" y="294416"/>
                  <a:pt x="1852741" y="300833"/>
                </a:cubicBezTo>
                <a:cubicBezTo>
                  <a:pt x="1840590" y="307249"/>
                  <a:pt x="1827415" y="310458"/>
                  <a:pt x="1813217" y="310458"/>
                </a:cubicBezTo>
                <a:cubicBezTo>
                  <a:pt x="1793284" y="310458"/>
                  <a:pt x="1777311" y="304997"/>
                  <a:pt x="1765296" y="294075"/>
                </a:cubicBezTo>
                <a:cubicBezTo>
                  <a:pt x="1753282" y="283153"/>
                  <a:pt x="1747275" y="268544"/>
                  <a:pt x="1747275" y="250250"/>
                </a:cubicBezTo>
                <a:cubicBezTo>
                  <a:pt x="1747275" y="227041"/>
                  <a:pt x="1757037" y="209292"/>
                  <a:pt x="1776560" y="197005"/>
                </a:cubicBezTo>
                <a:cubicBezTo>
                  <a:pt x="1796083" y="184718"/>
                  <a:pt x="1824412" y="178574"/>
                  <a:pt x="1861546" y="178574"/>
                </a:cubicBezTo>
                <a:cubicBezTo>
                  <a:pt x="1864550" y="178574"/>
                  <a:pt x="1867554" y="178574"/>
                  <a:pt x="1870557" y="178574"/>
                </a:cubicBezTo>
                <a:cubicBezTo>
                  <a:pt x="1873561" y="178574"/>
                  <a:pt x="1876428" y="178711"/>
                  <a:pt x="1879158" y="178984"/>
                </a:cubicBezTo>
                <a:lnTo>
                  <a:pt x="1879158" y="177346"/>
                </a:lnTo>
                <a:cubicBezTo>
                  <a:pt x="1879158" y="154956"/>
                  <a:pt x="1874653" y="138368"/>
                  <a:pt x="1865642" y="127582"/>
                </a:cubicBezTo>
                <a:cubicBezTo>
                  <a:pt x="1856632" y="116797"/>
                  <a:pt x="1842843" y="111404"/>
                  <a:pt x="1824275" y="111404"/>
                </a:cubicBezTo>
                <a:cubicBezTo>
                  <a:pt x="1802977" y="111404"/>
                  <a:pt x="1782772" y="117821"/>
                  <a:pt x="1763658" y="130654"/>
                </a:cubicBezTo>
                <a:lnTo>
                  <a:pt x="1763658" y="108537"/>
                </a:lnTo>
                <a:cubicBezTo>
                  <a:pt x="1782499" y="96250"/>
                  <a:pt x="1803387" y="90106"/>
                  <a:pt x="1826323" y="90106"/>
                </a:cubicBezTo>
                <a:close/>
                <a:moveTo>
                  <a:pt x="1411109" y="90106"/>
                </a:moveTo>
                <a:cubicBezTo>
                  <a:pt x="1428311" y="90106"/>
                  <a:pt x="1443329" y="94816"/>
                  <a:pt x="1456162" y="104237"/>
                </a:cubicBezTo>
                <a:cubicBezTo>
                  <a:pt x="1468996" y="113657"/>
                  <a:pt x="1478826" y="126558"/>
                  <a:pt x="1485652" y="142941"/>
                </a:cubicBezTo>
                <a:cubicBezTo>
                  <a:pt x="1492478" y="159324"/>
                  <a:pt x="1495891" y="178028"/>
                  <a:pt x="1495891" y="199053"/>
                </a:cubicBezTo>
                <a:cubicBezTo>
                  <a:pt x="1495891" y="232911"/>
                  <a:pt x="1487904" y="259943"/>
                  <a:pt x="1471931" y="280149"/>
                </a:cubicBezTo>
                <a:cubicBezTo>
                  <a:pt x="1455958" y="300355"/>
                  <a:pt x="1434728" y="310458"/>
                  <a:pt x="1408242" y="310458"/>
                </a:cubicBezTo>
                <a:cubicBezTo>
                  <a:pt x="1393770" y="310458"/>
                  <a:pt x="1380869" y="307044"/>
                  <a:pt x="1369537" y="300218"/>
                </a:cubicBezTo>
                <a:cubicBezTo>
                  <a:pt x="1358206" y="293392"/>
                  <a:pt x="1349127" y="283562"/>
                  <a:pt x="1342301" y="270729"/>
                </a:cubicBezTo>
                <a:lnTo>
                  <a:pt x="1342301" y="382952"/>
                </a:lnTo>
                <a:lnTo>
                  <a:pt x="1318545" y="382952"/>
                </a:lnTo>
                <a:lnTo>
                  <a:pt x="1318545" y="95431"/>
                </a:lnTo>
                <a:lnTo>
                  <a:pt x="1339433" y="95431"/>
                </a:lnTo>
                <a:lnTo>
                  <a:pt x="1341481" y="133521"/>
                </a:lnTo>
                <a:cubicBezTo>
                  <a:pt x="1347762" y="120142"/>
                  <a:pt x="1357113" y="109561"/>
                  <a:pt x="1369537" y="101779"/>
                </a:cubicBezTo>
                <a:cubicBezTo>
                  <a:pt x="1381961" y="93997"/>
                  <a:pt x="1395818" y="90106"/>
                  <a:pt x="1411109" y="90106"/>
                </a:cubicBezTo>
                <a:close/>
                <a:moveTo>
                  <a:pt x="1045987" y="90106"/>
                </a:moveTo>
                <a:cubicBezTo>
                  <a:pt x="1064555" y="90106"/>
                  <a:pt x="1080869" y="94816"/>
                  <a:pt x="1094932" y="104237"/>
                </a:cubicBezTo>
                <a:cubicBezTo>
                  <a:pt x="1108994" y="113657"/>
                  <a:pt x="1119711" y="126627"/>
                  <a:pt x="1127083" y="143146"/>
                </a:cubicBezTo>
                <a:cubicBezTo>
                  <a:pt x="1134456" y="159666"/>
                  <a:pt x="1138142" y="178574"/>
                  <a:pt x="1138142" y="199872"/>
                </a:cubicBezTo>
                <a:cubicBezTo>
                  <a:pt x="1138142" y="222262"/>
                  <a:pt x="1134114" y="241785"/>
                  <a:pt x="1126059" y="258441"/>
                </a:cubicBezTo>
                <a:cubicBezTo>
                  <a:pt x="1118004" y="275098"/>
                  <a:pt x="1107014" y="287931"/>
                  <a:pt x="1093088" y="296942"/>
                </a:cubicBezTo>
                <a:cubicBezTo>
                  <a:pt x="1079163" y="305952"/>
                  <a:pt x="1063326" y="310458"/>
                  <a:pt x="1045578" y="310458"/>
                </a:cubicBezTo>
                <a:cubicBezTo>
                  <a:pt x="1027010" y="310458"/>
                  <a:pt x="1010764" y="305679"/>
                  <a:pt x="996838" y="296122"/>
                </a:cubicBezTo>
                <a:cubicBezTo>
                  <a:pt x="982913" y="286566"/>
                  <a:pt x="972196" y="273528"/>
                  <a:pt x="964687" y="257008"/>
                </a:cubicBezTo>
                <a:cubicBezTo>
                  <a:pt x="957178" y="240488"/>
                  <a:pt x="953423" y="221716"/>
                  <a:pt x="953423" y="200691"/>
                </a:cubicBezTo>
                <a:cubicBezTo>
                  <a:pt x="953423" y="178301"/>
                  <a:pt x="957451" y="158778"/>
                  <a:pt x="965506" y="142122"/>
                </a:cubicBezTo>
                <a:cubicBezTo>
                  <a:pt x="973561" y="125466"/>
                  <a:pt x="984551" y="112633"/>
                  <a:pt x="998477" y="103622"/>
                </a:cubicBezTo>
                <a:cubicBezTo>
                  <a:pt x="1012402" y="94611"/>
                  <a:pt x="1028239" y="90106"/>
                  <a:pt x="1045987" y="90106"/>
                </a:cubicBezTo>
                <a:close/>
                <a:moveTo>
                  <a:pt x="354044" y="86010"/>
                </a:moveTo>
                <a:cubicBezTo>
                  <a:pt x="384352" y="86010"/>
                  <a:pt x="407766" y="94065"/>
                  <a:pt x="424286" y="110175"/>
                </a:cubicBezTo>
                <a:cubicBezTo>
                  <a:pt x="440805" y="126285"/>
                  <a:pt x="449065" y="149358"/>
                  <a:pt x="449065" y="179394"/>
                </a:cubicBezTo>
                <a:lnTo>
                  <a:pt x="449065" y="305133"/>
                </a:lnTo>
                <a:lnTo>
                  <a:pt x="398278" y="305133"/>
                </a:lnTo>
                <a:lnTo>
                  <a:pt x="395001" y="282606"/>
                </a:lnTo>
                <a:cubicBezTo>
                  <a:pt x="388721" y="291344"/>
                  <a:pt x="380188" y="298170"/>
                  <a:pt x="369403" y="303085"/>
                </a:cubicBezTo>
                <a:cubicBezTo>
                  <a:pt x="358617" y="308000"/>
                  <a:pt x="346808" y="310458"/>
                  <a:pt x="333974" y="310458"/>
                </a:cubicBezTo>
                <a:cubicBezTo>
                  <a:pt x="312677" y="310458"/>
                  <a:pt x="295679" y="304723"/>
                  <a:pt x="282982" y="293255"/>
                </a:cubicBezTo>
                <a:cubicBezTo>
                  <a:pt x="270286" y="281787"/>
                  <a:pt x="263937" y="266633"/>
                  <a:pt x="263937" y="247793"/>
                </a:cubicBezTo>
                <a:cubicBezTo>
                  <a:pt x="263937" y="223491"/>
                  <a:pt x="273357" y="204582"/>
                  <a:pt x="292198" y="191066"/>
                </a:cubicBezTo>
                <a:cubicBezTo>
                  <a:pt x="311038" y="177550"/>
                  <a:pt x="337661" y="170792"/>
                  <a:pt x="372065" y="170792"/>
                </a:cubicBezTo>
                <a:cubicBezTo>
                  <a:pt x="375069" y="170792"/>
                  <a:pt x="378072" y="170861"/>
                  <a:pt x="381076" y="170997"/>
                </a:cubicBezTo>
                <a:cubicBezTo>
                  <a:pt x="384079" y="171134"/>
                  <a:pt x="387083" y="171339"/>
                  <a:pt x="390086" y="171612"/>
                </a:cubicBezTo>
                <a:cubicBezTo>
                  <a:pt x="388721" y="159324"/>
                  <a:pt x="384284" y="150245"/>
                  <a:pt x="376775" y="144375"/>
                </a:cubicBezTo>
                <a:cubicBezTo>
                  <a:pt x="369266" y="138504"/>
                  <a:pt x="358276" y="135569"/>
                  <a:pt x="343804" y="135569"/>
                </a:cubicBezTo>
                <a:cubicBezTo>
                  <a:pt x="323872" y="135569"/>
                  <a:pt x="303666" y="140893"/>
                  <a:pt x="283187" y="151542"/>
                </a:cubicBezTo>
                <a:lnTo>
                  <a:pt x="283187" y="102803"/>
                </a:lnTo>
                <a:cubicBezTo>
                  <a:pt x="305031" y="91608"/>
                  <a:pt x="328650" y="86010"/>
                  <a:pt x="354044" y="86010"/>
                </a:cubicBezTo>
                <a:close/>
                <a:moveTo>
                  <a:pt x="125768" y="35633"/>
                </a:moveTo>
                <a:lnTo>
                  <a:pt x="188023" y="35633"/>
                </a:lnTo>
                <a:lnTo>
                  <a:pt x="188023" y="91335"/>
                </a:lnTo>
                <a:lnTo>
                  <a:pt x="233076" y="91335"/>
                </a:lnTo>
                <a:lnTo>
                  <a:pt x="233076" y="138846"/>
                </a:lnTo>
                <a:lnTo>
                  <a:pt x="188023" y="138846"/>
                </a:lnTo>
                <a:lnTo>
                  <a:pt x="188023" y="226085"/>
                </a:lnTo>
                <a:cubicBezTo>
                  <a:pt x="188023" y="237553"/>
                  <a:pt x="190344" y="246018"/>
                  <a:pt x="194986" y="251479"/>
                </a:cubicBezTo>
                <a:cubicBezTo>
                  <a:pt x="199628" y="256940"/>
                  <a:pt x="206863" y="259670"/>
                  <a:pt x="216693" y="259670"/>
                </a:cubicBezTo>
                <a:cubicBezTo>
                  <a:pt x="224339" y="259670"/>
                  <a:pt x="231438" y="258305"/>
                  <a:pt x="237991" y="255574"/>
                </a:cubicBezTo>
                <a:lnTo>
                  <a:pt x="237991" y="303495"/>
                </a:lnTo>
                <a:cubicBezTo>
                  <a:pt x="224885" y="307317"/>
                  <a:pt x="212871" y="309229"/>
                  <a:pt x="201948" y="309229"/>
                </a:cubicBezTo>
                <a:cubicBezTo>
                  <a:pt x="176828" y="309229"/>
                  <a:pt x="157851" y="302744"/>
                  <a:pt x="145018" y="289774"/>
                </a:cubicBezTo>
                <a:cubicBezTo>
                  <a:pt x="132184" y="276804"/>
                  <a:pt x="125768" y="257486"/>
                  <a:pt x="125768" y="231819"/>
                </a:cubicBezTo>
                <a:lnTo>
                  <a:pt x="125768" y="138846"/>
                </a:lnTo>
                <a:lnTo>
                  <a:pt x="93002" y="138846"/>
                </a:lnTo>
                <a:lnTo>
                  <a:pt x="93002" y="91335"/>
                </a:lnTo>
                <a:lnTo>
                  <a:pt x="125768" y="91335"/>
                </a:lnTo>
                <a:close/>
                <a:moveTo>
                  <a:pt x="0" y="28670"/>
                </a:moveTo>
                <a:lnTo>
                  <a:pt x="64303" y="28670"/>
                </a:lnTo>
                <a:lnTo>
                  <a:pt x="64303" y="305133"/>
                </a:lnTo>
                <a:lnTo>
                  <a:pt x="0" y="305133"/>
                </a:lnTo>
                <a:close/>
                <a:moveTo>
                  <a:pt x="840219" y="23345"/>
                </a:moveTo>
                <a:cubicBezTo>
                  <a:pt x="853052" y="23345"/>
                  <a:pt x="865612" y="25257"/>
                  <a:pt x="877900" y="29079"/>
                </a:cubicBezTo>
                <a:cubicBezTo>
                  <a:pt x="890187" y="32902"/>
                  <a:pt x="900563" y="38090"/>
                  <a:pt x="909027" y="44643"/>
                </a:cubicBezTo>
                <a:lnTo>
                  <a:pt x="909027" y="69627"/>
                </a:lnTo>
                <a:cubicBezTo>
                  <a:pt x="901382" y="62255"/>
                  <a:pt x="891347" y="56316"/>
                  <a:pt x="878924" y="51811"/>
                </a:cubicBezTo>
                <a:cubicBezTo>
                  <a:pt x="866500" y="47306"/>
                  <a:pt x="854008" y="45053"/>
                  <a:pt x="841448" y="45053"/>
                </a:cubicBezTo>
                <a:cubicBezTo>
                  <a:pt x="820696" y="45053"/>
                  <a:pt x="802811" y="50104"/>
                  <a:pt x="787793" y="60207"/>
                </a:cubicBezTo>
                <a:cubicBezTo>
                  <a:pt x="772775" y="70310"/>
                  <a:pt x="761307" y="84509"/>
                  <a:pt x="753389" y="102803"/>
                </a:cubicBezTo>
                <a:cubicBezTo>
                  <a:pt x="745470" y="121097"/>
                  <a:pt x="741511" y="142395"/>
                  <a:pt x="741511" y="166697"/>
                </a:cubicBezTo>
                <a:cubicBezTo>
                  <a:pt x="741511" y="191817"/>
                  <a:pt x="745743" y="213525"/>
                  <a:pt x="754208" y="231819"/>
                </a:cubicBezTo>
                <a:cubicBezTo>
                  <a:pt x="762673" y="250113"/>
                  <a:pt x="774414" y="264107"/>
                  <a:pt x="789431" y="273801"/>
                </a:cubicBezTo>
                <a:cubicBezTo>
                  <a:pt x="804449" y="283494"/>
                  <a:pt x="821788" y="288340"/>
                  <a:pt x="841448" y="288340"/>
                </a:cubicBezTo>
                <a:cubicBezTo>
                  <a:pt x="868479" y="288340"/>
                  <a:pt x="892644" y="279330"/>
                  <a:pt x="913942" y="261309"/>
                </a:cubicBezTo>
                <a:lnTo>
                  <a:pt x="913942" y="286293"/>
                </a:lnTo>
                <a:cubicBezTo>
                  <a:pt x="892917" y="302403"/>
                  <a:pt x="868070" y="310458"/>
                  <a:pt x="839400" y="310458"/>
                </a:cubicBezTo>
                <a:cubicBezTo>
                  <a:pt x="814279" y="310458"/>
                  <a:pt x="792435" y="304450"/>
                  <a:pt x="773868" y="292436"/>
                </a:cubicBezTo>
                <a:cubicBezTo>
                  <a:pt x="755300" y="280422"/>
                  <a:pt x="741102" y="263698"/>
                  <a:pt x="731272" y="242263"/>
                </a:cubicBezTo>
                <a:cubicBezTo>
                  <a:pt x="721442" y="220829"/>
                  <a:pt x="716527" y="196050"/>
                  <a:pt x="716527" y="167925"/>
                </a:cubicBezTo>
                <a:cubicBezTo>
                  <a:pt x="716527" y="138709"/>
                  <a:pt x="721852" y="113179"/>
                  <a:pt x="732501" y="91335"/>
                </a:cubicBezTo>
                <a:cubicBezTo>
                  <a:pt x="743150" y="69491"/>
                  <a:pt x="757758" y="52698"/>
                  <a:pt x="776325" y="40957"/>
                </a:cubicBezTo>
                <a:cubicBezTo>
                  <a:pt x="794892" y="29216"/>
                  <a:pt x="816190" y="23345"/>
                  <a:pt x="840219" y="23345"/>
                </a:cubicBezTo>
                <a:close/>
                <a:moveTo>
                  <a:pt x="1537620" y="0"/>
                </a:moveTo>
                <a:lnTo>
                  <a:pt x="1561376" y="0"/>
                </a:lnTo>
                <a:lnTo>
                  <a:pt x="1561376" y="131883"/>
                </a:lnTo>
                <a:cubicBezTo>
                  <a:pt x="1567929" y="119049"/>
                  <a:pt x="1577349" y="108878"/>
                  <a:pt x="1589636" y="101369"/>
                </a:cubicBezTo>
                <a:cubicBezTo>
                  <a:pt x="1601923" y="93861"/>
                  <a:pt x="1615439" y="90106"/>
                  <a:pt x="1630184" y="90106"/>
                </a:cubicBezTo>
                <a:cubicBezTo>
                  <a:pt x="1647386" y="90106"/>
                  <a:pt x="1662404" y="94816"/>
                  <a:pt x="1675237" y="104237"/>
                </a:cubicBezTo>
                <a:cubicBezTo>
                  <a:pt x="1688071" y="113657"/>
                  <a:pt x="1697901" y="126558"/>
                  <a:pt x="1704727" y="142941"/>
                </a:cubicBezTo>
                <a:cubicBezTo>
                  <a:pt x="1711553" y="159324"/>
                  <a:pt x="1714966" y="178028"/>
                  <a:pt x="1714966" y="199053"/>
                </a:cubicBezTo>
                <a:cubicBezTo>
                  <a:pt x="1714966" y="232911"/>
                  <a:pt x="1706979" y="259943"/>
                  <a:pt x="1691006" y="280149"/>
                </a:cubicBezTo>
                <a:cubicBezTo>
                  <a:pt x="1675033" y="300355"/>
                  <a:pt x="1653803" y="310458"/>
                  <a:pt x="1627317" y="310458"/>
                </a:cubicBezTo>
                <a:cubicBezTo>
                  <a:pt x="1612299" y="310458"/>
                  <a:pt x="1599056" y="306840"/>
                  <a:pt x="1587588" y="299604"/>
                </a:cubicBezTo>
                <a:cubicBezTo>
                  <a:pt x="1576120" y="292368"/>
                  <a:pt x="1566973" y="282060"/>
                  <a:pt x="1560147" y="268681"/>
                </a:cubicBezTo>
                <a:lnTo>
                  <a:pt x="1558508" y="305133"/>
                </a:lnTo>
                <a:lnTo>
                  <a:pt x="1537620" y="305133"/>
                </a:lnTo>
                <a:close/>
                <a:moveTo>
                  <a:pt x="599332" y="0"/>
                </a:moveTo>
                <a:lnTo>
                  <a:pt x="666092" y="0"/>
                </a:lnTo>
                <a:lnTo>
                  <a:pt x="608752" y="65122"/>
                </a:lnTo>
                <a:lnTo>
                  <a:pt x="554688" y="6512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10763250" y="407988"/>
            <a:ext cx="1092200" cy="111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5" name="Freeform 10"/>
          <p:cNvSpPr>
            <a:spLocks noEditPoints="1"/>
          </p:cNvSpPr>
          <p:nvPr/>
        </p:nvSpPr>
        <p:spPr bwMode="auto">
          <a:xfrm>
            <a:off x="10763250" y="409575"/>
            <a:ext cx="1092200" cy="1119188"/>
          </a:xfrm>
          <a:custGeom>
            <a:avLst/>
            <a:gdLst>
              <a:gd name="T0" fmla="*/ 772 w 1498"/>
              <a:gd name="T1" fmla="*/ 1101 h 1536"/>
              <a:gd name="T2" fmla="*/ 751 w 1498"/>
              <a:gd name="T3" fmla="*/ 1212 h 1536"/>
              <a:gd name="T4" fmla="*/ 826 w 1498"/>
              <a:gd name="T5" fmla="*/ 1162 h 1536"/>
              <a:gd name="T6" fmla="*/ 829 w 1498"/>
              <a:gd name="T7" fmla="*/ 1138 h 1536"/>
              <a:gd name="T8" fmla="*/ 806 w 1498"/>
              <a:gd name="T9" fmla="*/ 1098 h 1536"/>
              <a:gd name="T10" fmla="*/ 772 w 1498"/>
              <a:gd name="T11" fmla="*/ 1101 h 1536"/>
              <a:gd name="T12" fmla="*/ 751 w 1498"/>
              <a:gd name="T13" fmla="*/ 1212 h 1536"/>
              <a:gd name="T14" fmla="*/ 826 w 1498"/>
              <a:gd name="T15" fmla="*/ 1162 h 1536"/>
              <a:gd name="T16" fmla="*/ 829 w 1498"/>
              <a:gd name="T17" fmla="*/ 1138 h 1536"/>
              <a:gd name="T18" fmla="*/ 806 w 1498"/>
              <a:gd name="T19" fmla="*/ 1098 h 1536"/>
              <a:gd name="T20" fmla="*/ 250 w 1498"/>
              <a:gd name="T21" fmla="*/ 0 h 1536"/>
              <a:gd name="T22" fmla="*/ 0 w 1498"/>
              <a:gd name="T23" fmla="*/ 1280 h 1536"/>
              <a:gd name="T24" fmla="*/ 1248 w 1498"/>
              <a:gd name="T25" fmla="*/ 1536 h 1536"/>
              <a:gd name="T26" fmla="*/ 1498 w 1498"/>
              <a:gd name="T27" fmla="*/ 256 h 1536"/>
              <a:gd name="T28" fmla="*/ 241 w 1498"/>
              <a:gd name="T29" fmla="*/ 1280 h 1536"/>
              <a:gd name="T30" fmla="*/ 125 w 1498"/>
              <a:gd name="T31" fmla="*/ 768 h 1536"/>
              <a:gd name="T32" fmla="*/ 241 w 1498"/>
              <a:gd name="T33" fmla="*/ 1280 h 1536"/>
              <a:gd name="T34" fmla="*/ 1324 w 1498"/>
              <a:gd name="T35" fmla="*/ 768 h 1536"/>
              <a:gd name="T36" fmla="*/ 1144 w 1498"/>
              <a:gd name="T37" fmla="*/ 871 h 1536"/>
              <a:gd name="T38" fmla="*/ 537 w 1498"/>
              <a:gd name="T39" fmla="*/ 1278 h 1536"/>
              <a:gd name="T40" fmla="*/ 382 w 1498"/>
              <a:gd name="T41" fmla="*/ 1254 h 1536"/>
              <a:gd name="T42" fmla="*/ 351 w 1498"/>
              <a:gd name="T43" fmla="*/ 984 h 1536"/>
              <a:gd name="T44" fmla="*/ 297 w 1498"/>
              <a:gd name="T45" fmla="*/ 896 h 1536"/>
              <a:gd name="T46" fmla="*/ 351 w 1498"/>
              <a:gd name="T47" fmla="*/ 768 h 1536"/>
              <a:gd name="T48" fmla="*/ 464 w 1498"/>
              <a:gd name="T49" fmla="*/ 896 h 1536"/>
              <a:gd name="T50" fmla="*/ 536 w 1498"/>
              <a:gd name="T51" fmla="*/ 984 h 1536"/>
              <a:gd name="T52" fmla="*/ 464 w 1498"/>
              <a:gd name="T53" fmla="*/ 1120 h 1536"/>
              <a:gd name="T54" fmla="*/ 537 w 1498"/>
              <a:gd name="T55" fmla="*/ 1189 h 1536"/>
              <a:gd name="T56" fmla="*/ 936 w 1498"/>
              <a:gd name="T57" fmla="*/ 1280 h 1536"/>
              <a:gd name="T58" fmla="*/ 828 w 1498"/>
              <a:gd name="T59" fmla="*/ 1240 h 1536"/>
              <a:gd name="T60" fmla="*/ 710 w 1498"/>
              <a:gd name="T61" fmla="*/ 1289 h 1536"/>
              <a:gd name="T62" fmla="*/ 826 w 1498"/>
              <a:gd name="T63" fmla="*/ 1023 h 1536"/>
              <a:gd name="T64" fmla="*/ 744 w 1498"/>
              <a:gd name="T65" fmla="*/ 966 h 1536"/>
              <a:gd name="T66" fmla="*/ 609 w 1498"/>
              <a:gd name="T67" fmla="*/ 921 h 1536"/>
              <a:gd name="T68" fmla="*/ 936 w 1498"/>
              <a:gd name="T69" fmla="*/ 1053 h 1536"/>
              <a:gd name="T70" fmla="*/ 1373 w 1498"/>
              <a:gd name="T71" fmla="*/ 1280 h 1536"/>
              <a:gd name="T72" fmla="*/ 1266 w 1498"/>
              <a:gd name="T73" fmla="*/ 1225 h 1536"/>
              <a:gd name="T74" fmla="*/ 1225 w 1498"/>
              <a:gd name="T75" fmla="*/ 1266 h 1536"/>
              <a:gd name="T76" fmla="*/ 1141 w 1498"/>
              <a:gd name="T77" fmla="*/ 1289 h 1536"/>
              <a:gd name="T78" fmla="*/ 1041 w 1498"/>
              <a:gd name="T79" fmla="*/ 1249 h 1536"/>
              <a:gd name="T80" fmla="*/ 1001 w 1498"/>
              <a:gd name="T81" fmla="*/ 1120 h 1536"/>
              <a:gd name="T82" fmla="*/ 1115 w 1498"/>
              <a:gd name="T83" fmla="*/ 896 h 1536"/>
              <a:gd name="T84" fmla="*/ 1183 w 1498"/>
              <a:gd name="T85" fmla="*/ 1195 h 1536"/>
              <a:gd name="T86" fmla="*/ 1257 w 1498"/>
              <a:gd name="T87" fmla="*/ 1121 h 1536"/>
              <a:gd name="T88" fmla="*/ 1373 w 1498"/>
              <a:gd name="T89" fmla="*/ 896 h 1536"/>
              <a:gd name="T90" fmla="*/ 806 w 1498"/>
              <a:gd name="T91" fmla="*/ 1098 h 1536"/>
              <a:gd name="T92" fmla="*/ 697 w 1498"/>
              <a:gd name="T93" fmla="*/ 1163 h 1536"/>
              <a:gd name="T94" fmla="*/ 826 w 1498"/>
              <a:gd name="T95" fmla="*/ 1164 h 1536"/>
              <a:gd name="T96" fmla="*/ 827 w 1498"/>
              <a:gd name="T97" fmla="*/ 1158 h 1536"/>
              <a:gd name="T98" fmla="*/ 829 w 1498"/>
              <a:gd name="T99" fmla="*/ 1098 h 1536"/>
              <a:gd name="T100" fmla="*/ 806 w 1498"/>
              <a:gd name="T101" fmla="*/ 1098 h 1536"/>
              <a:gd name="T102" fmla="*/ 697 w 1498"/>
              <a:gd name="T103" fmla="*/ 1163 h 1536"/>
              <a:gd name="T104" fmla="*/ 826 w 1498"/>
              <a:gd name="T105" fmla="*/ 1164 h 1536"/>
              <a:gd name="T106" fmla="*/ 827 w 1498"/>
              <a:gd name="T107" fmla="*/ 1158 h 1536"/>
              <a:gd name="T108" fmla="*/ 829 w 1498"/>
              <a:gd name="T109" fmla="*/ 1098 h 1536"/>
              <a:gd name="T110" fmla="*/ 806 w 1498"/>
              <a:gd name="T111" fmla="*/ 1098 h 1536"/>
              <a:gd name="T112" fmla="*/ 697 w 1498"/>
              <a:gd name="T113" fmla="*/ 1163 h 1536"/>
              <a:gd name="T114" fmla="*/ 826 w 1498"/>
              <a:gd name="T115" fmla="*/ 1164 h 1536"/>
              <a:gd name="T116" fmla="*/ 827 w 1498"/>
              <a:gd name="T117" fmla="*/ 1158 h 1536"/>
              <a:gd name="T118" fmla="*/ 829 w 1498"/>
              <a:gd name="T119" fmla="*/ 1098 h 1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98" h="1536"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1248" y="0"/>
                </a:moveTo>
                <a:cubicBezTo>
                  <a:pt x="250" y="0"/>
                  <a:pt x="250" y="0"/>
                  <a:pt x="250" y="0"/>
                </a:cubicBezTo>
                <a:cubicBezTo>
                  <a:pt x="112" y="0"/>
                  <a:pt x="0" y="115"/>
                  <a:pt x="0" y="256"/>
                </a:cubicBezTo>
                <a:cubicBezTo>
                  <a:pt x="0" y="1280"/>
                  <a:pt x="0" y="1280"/>
                  <a:pt x="0" y="1280"/>
                </a:cubicBezTo>
                <a:cubicBezTo>
                  <a:pt x="0" y="1421"/>
                  <a:pt x="112" y="1536"/>
                  <a:pt x="250" y="1536"/>
                </a:cubicBezTo>
                <a:cubicBezTo>
                  <a:pt x="1248" y="1536"/>
                  <a:pt x="1248" y="1536"/>
                  <a:pt x="1248" y="1536"/>
                </a:cubicBezTo>
                <a:cubicBezTo>
                  <a:pt x="1386" y="1536"/>
                  <a:pt x="1498" y="1421"/>
                  <a:pt x="1498" y="1280"/>
                </a:cubicBezTo>
                <a:cubicBezTo>
                  <a:pt x="1498" y="256"/>
                  <a:pt x="1498" y="256"/>
                  <a:pt x="1498" y="256"/>
                </a:cubicBezTo>
                <a:cubicBezTo>
                  <a:pt x="1498" y="115"/>
                  <a:pt x="1386" y="0"/>
                  <a:pt x="1248" y="0"/>
                </a:cubicBezTo>
                <a:close/>
                <a:moveTo>
                  <a:pt x="241" y="1280"/>
                </a:moveTo>
                <a:cubicBezTo>
                  <a:pt x="125" y="1280"/>
                  <a:pt x="125" y="1280"/>
                  <a:pt x="125" y="1280"/>
                </a:cubicBezTo>
                <a:cubicBezTo>
                  <a:pt x="125" y="768"/>
                  <a:pt x="125" y="768"/>
                  <a:pt x="125" y="768"/>
                </a:cubicBezTo>
                <a:cubicBezTo>
                  <a:pt x="241" y="768"/>
                  <a:pt x="241" y="768"/>
                  <a:pt x="241" y="768"/>
                </a:cubicBezTo>
                <a:lnTo>
                  <a:pt x="241" y="1280"/>
                </a:lnTo>
                <a:close/>
                <a:moveTo>
                  <a:pt x="1214" y="768"/>
                </a:moveTo>
                <a:cubicBezTo>
                  <a:pt x="1324" y="768"/>
                  <a:pt x="1324" y="768"/>
                  <a:pt x="1324" y="768"/>
                </a:cubicBezTo>
                <a:cubicBezTo>
                  <a:pt x="1226" y="871"/>
                  <a:pt x="1226" y="871"/>
                  <a:pt x="1226" y="871"/>
                </a:cubicBezTo>
                <a:cubicBezTo>
                  <a:pt x="1144" y="871"/>
                  <a:pt x="1144" y="871"/>
                  <a:pt x="1144" y="871"/>
                </a:cubicBezTo>
                <a:lnTo>
                  <a:pt x="1214" y="768"/>
                </a:lnTo>
                <a:close/>
                <a:moveTo>
                  <a:pt x="537" y="1278"/>
                </a:moveTo>
                <a:cubicBezTo>
                  <a:pt x="522" y="1284"/>
                  <a:pt x="508" y="1289"/>
                  <a:pt x="474" y="1289"/>
                </a:cubicBezTo>
                <a:cubicBezTo>
                  <a:pt x="434" y="1289"/>
                  <a:pt x="401" y="1274"/>
                  <a:pt x="382" y="1254"/>
                </a:cubicBezTo>
                <a:cubicBezTo>
                  <a:pt x="361" y="1230"/>
                  <a:pt x="351" y="1191"/>
                  <a:pt x="351" y="1140"/>
                </a:cubicBezTo>
                <a:cubicBezTo>
                  <a:pt x="351" y="984"/>
                  <a:pt x="351" y="984"/>
                  <a:pt x="351" y="984"/>
                </a:cubicBezTo>
                <a:cubicBezTo>
                  <a:pt x="297" y="984"/>
                  <a:pt x="297" y="984"/>
                  <a:pt x="297" y="984"/>
                </a:cubicBezTo>
                <a:cubicBezTo>
                  <a:pt x="297" y="896"/>
                  <a:pt x="297" y="896"/>
                  <a:pt x="297" y="896"/>
                </a:cubicBezTo>
                <a:cubicBezTo>
                  <a:pt x="351" y="896"/>
                  <a:pt x="351" y="896"/>
                  <a:pt x="351" y="896"/>
                </a:cubicBezTo>
                <a:cubicBezTo>
                  <a:pt x="351" y="768"/>
                  <a:pt x="351" y="768"/>
                  <a:pt x="351" y="768"/>
                </a:cubicBezTo>
                <a:cubicBezTo>
                  <a:pt x="464" y="768"/>
                  <a:pt x="464" y="768"/>
                  <a:pt x="464" y="768"/>
                </a:cubicBezTo>
                <a:cubicBezTo>
                  <a:pt x="464" y="896"/>
                  <a:pt x="464" y="896"/>
                  <a:pt x="464" y="896"/>
                </a:cubicBezTo>
                <a:cubicBezTo>
                  <a:pt x="536" y="896"/>
                  <a:pt x="536" y="896"/>
                  <a:pt x="536" y="896"/>
                </a:cubicBezTo>
                <a:cubicBezTo>
                  <a:pt x="536" y="984"/>
                  <a:pt x="536" y="984"/>
                  <a:pt x="536" y="984"/>
                </a:cubicBezTo>
                <a:cubicBezTo>
                  <a:pt x="464" y="984"/>
                  <a:pt x="464" y="984"/>
                  <a:pt x="464" y="984"/>
                </a:cubicBezTo>
                <a:cubicBezTo>
                  <a:pt x="464" y="1120"/>
                  <a:pt x="464" y="1120"/>
                  <a:pt x="464" y="1120"/>
                </a:cubicBezTo>
                <a:cubicBezTo>
                  <a:pt x="464" y="1167"/>
                  <a:pt x="473" y="1192"/>
                  <a:pt x="513" y="1192"/>
                </a:cubicBezTo>
                <a:cubicBezTo>
                  <a:pt x="525" y="1192"/>
                  <a:pt x="534" y="1190"/>
                  <a:pt x="537" y="1189"/>
                </a:cubicBezTo>
                <a:lnTo>
                  <a:pt x="537" y="1278"/>
                </a:lnTo>
                <a:close/>
                <a:moveTo>
                  <a:pt x="936" y="1280"/>
                </a:moveTo>
                <a:cubicBezTo>
                  <a:pt x="841" y="1280"/>
                  <a:pt x="841" y="1280"/>
                  <a:pt x="841" y="1280"/>
                </a:cubicBezTo>
                <a:cubicBezTo>
                  <a:pt x="828" y="1240"/>
                  <a:pt x="828" y="1240"/>
                  <a:pt x="828" y="1240"/>
                </a:cubicBezTo>
                <a:cubicBezTo>
                  <a:pt x="827" y="1240"/>
                  <a:pt x="827" y="1240"/>
                  <a:pt x="827" y="1240"/>
                </a:cubicBezTo>
                <a:cubicBezTo>
                  <a:pt x="802" y="1271"/>
                  <a:pt x="760" y="1289"/>
                  <a:pt x="710" y="1289"/>
                </a:cubicBezTo>
                <a:cubicBezTo>
                  <a:pt x="627" y="1289"/>
                  <a:pt x="582" y="1230"/>
                  <a:pt x="582" y="1172"/>
                </a:cubicBezTo>
                <a:cubicBezTo>
                  <a:pt x="582" y="1073"/>
                  <a:pt x="675" y="1023"/>
                  <a:pt x="826" y="1023"/>
                </a:cubicBezTo>
                <a:cubicBezTo>
                  <a:pt x="826" y="1019"/>
                  <a:pt x="826" y="1019"/>
                  <a:pt x="826" y="1019"/>
                </a:cubicBezTo>
                <a:cubicBezTo>
                  <a:pt x="826" y="1001"/>
                  <a:pt x="812" y="966"/>
                  <a:pt x="744" y="966"/>
                </a:cubicBezTo>
                <a:cubicBezTo>
                  <a:pt x="703" y="966"/>
                  <a:pt x="658" y="980"/>
                  <a:pt x="631" y="997"/>
                </a:cubicBezTo>
                <a:cubicBezTo>
                  <a:pt x="609" y="921"/>
                  <a:pt x="609" y="921"/>
                  <a:pt x="609" y="921"/>
                </a:cubicBezTo>
                <a:cubicBezTo>
                  <a:pt x="638" y="904"/>
                  <a:pt x="692" y="885"/>
                  <a:pt x="763" y="885"/>
                </a:cubicBezTo>
                <a:cubicBezTo>
                  <a:pt x="892" y="885"/>
                  <a:pt x="936" y="961"/>
                  <a:pt x="936" y="1053"/>
                </a:cubicBezTo>
                <a:lnTo>
                  <a:pt x="936" y="1280"/>
                </a:lnTo>
                <a:close/>
                <a:moveTo>
                  <a:pt x="1373" y="1280"/>
                </a:moveTo>
                <a:cubicBezTo>
                  <a:pt x="1281" y="1280"/>
                  <a:pt x="1281" y="1280"/>
                  <a:pt x="1281" y="1280"/>
                </a:cubicBezTo>
                <a:cubicBezTo>
                  <a:pt x="1266" y="1225"/>
                  <a:pt x="1266" y="1225"/>
                  <a:pt x="1266" y="1225"/>
                </a:cubicBezTo>
                <a:cubicBezTo>
                  <a:pt x="1262" y="1231"/>
                  <a:pt x="1257" y="1238"/>
                  <a:pt x="1250" y="1245"/>
                </a:cubicBezTo>
                <a:cubicBezTo>
                  <a:pt x="1243" y="1253"/>
                  <a:pt x="1235" y="1260"/>
                  <a:pt x="1225" y="1266"/>
                </a:cubicBezTo>
                <a:cubicBezTo>
                  <a:pt x="1215" y="1272"/>
                  <a:pt x="1203" y="1278"/>
                  <a:pt x="1189" y="1282"/>
                </a:cubicBezTo>
                <a:cubicBezTo>
                  <a:pt x="1175" y="1286"/>
                  <a:pt x="1159" y="1289"/>
                  <a:pt x="1141" y="1289"/>
                </a:cubicBezTo>
                <a:cubicBezTo>
                  <a:pt x="1121" y="1289"/>
                  <a:pt x="1102" y="1286"/>
                  <a:pt x="1085" y="1279"/>
                </a:cubicBezTo>
                <a:cubicBezTo>
                  <a:pt x="1068" y="1273"/>
                  <a:pt x="1053" y="1263"/>
                  <a:pt x="1041" y="1249"/>
                </a:cubicBezTo>
                <a:cubicBezTo>
                  <a:pt x="1029" y="1236"/>
                  <a:pt x="1019" y="1218"/>
                  <a:pt x="1012" y="1197"/>
                </a:cubicBezTo>
                <a:cubicBezTo>
                  <a:pt x="1005" y="1176"/>
                  <a:pt x="1001" y="1150"/>
                  <a:pt x="1001" y="1120"/>
                </a:cubicBezTo>
                <a:cubicBezTo>
                  <a:pt x="1001" y="896"/>
                  <a:pt x="1001" y="896"/>
                  <a:pt x="1001" y="896"/>
                </a:cubicBezTo>
                <a:cubicBezTo>
                  <a:pt x="1115" y="896"/>
                  <a:pt x="1115" y="896"/>
                  <a:pt x="1115" y="896"/>
                </a:cubicBezTo>
                <a:cubicBezTo>
                  <a:pt x="1115" y="1099"/>
                  <a:pt x="1115" y="1099"/>
                  <a:pt x="1115" y="1099"/>
                </a:cubicBezTo>
                <a:cubicBezTo>
                  <a:pt x="1115" y="1159"/>
                  <a:pt x="1136" y="1195"/>
                  <a:pt x="1183" y="1195"/>
                </a:cubicBezTo>
                <a:cubicBezTo>
                  <a:pt x="1221" y="1195"/>
                  <a:pt x="1244" y="1169"/>
                  <a:pt x="1254" y="1146"/>
                </a:cubicBezTo>
                <a:cubicBezTo>
                  <a:pt x="1256" y="1138"/>
                  <a:pt x="1257" y="1130"/>
                  <a:pt x="1257" y="1121"/>
                </a:cubicBezTo>
                <a:cubicBezTo>
                  <a:pt x="1257" y="896"/>
                  <a:pt x="1257" y="896"/>
                  <a:pt x="1257" y="896"/>
                </a:cubicBezTo>
                <a:cubicBezTo>
                  <a:pt x="1373" y="896"/>
                  <a:pt x="1373" y="896"/>
                  <a:pt x="1373" y="896"/>
                </a:cubicBezTo>
                <a:lnTo>
                  <a:pt x="1373" y="1280"/>
                </a:ln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L" altLang="pt-BR" sz="1001" b="0" kern="1200" noProof="0" dirty="0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Información</a:t>
            </a:r>
            <a:r>
              <a:rPr lang="es-CL" altLang="pt-BR" sz="1001" b="0" kern="1200" baseline="0" noProof="0" dirty="0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 Restringida</a:t>
            </a:r>
            <a:endParaRPr lang="es-CL" altLang="pt-BR" sz="1001" b="0" kern="1200" noProof="0" dirty="0">
              <a:solidFill>
                <a:schemeClr val="tx2"/>
              </a:solidFill>
              <a:latin typeface="+mj-lt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9" name="Arredondar Retângulo em um Canto Único 18"/>
          <p:cNvSpPr/>
          <p:nvPr userDrawn="1"/>
        </p:nvSpPr>
        <p:spPr>
          <a:xfrm flipH="1">
            <a:off x="5453081" y="1862052"/>
            <a:ext cx="6738919" cy="4995948"/>
          </a:xfrm>
          <a:prstGeom prst="round1Rect">
            <a:avLst>
              <a:gd name="adj" fmla="val 34603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580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sória de Cap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5086033" y="2506499"/>
            <a:ext cx="6769415" cy="1419466"/>
          </a:xfrm>
        </p:spPr>
        <p:txBody>
          <a:bodyPr anchor="b">
            <a:normAutofit/>
          </a:bodyPr>
          <a:lstStyle>
            <a:lvl1pPr marL="0" indent="0">
              <a:buFont typeface="+mj-lt"/>
              <a:buNone/>
              <a:defRPr sz="4800" b="0">
                <a:solidFill>
                  <a:schemeClr val="accent5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r>
              <a:rPr lang="pt-BR" dirty="0"/>
              <a:t>Divisória de Capítulo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0"/>
          </p:nvPr>
        </p:nvSpPr>
        <p:spPr>
          <a:xfrm>
            <a:off x="5088174" y="4066162"/>
            <a:ext cx="6740970" cy="202666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  <a:latin typeface="+mj-lt"/>
              </a:defRPr>
            </a:lvl1pPr>
            <a:lvl2pPr>
              <a:defRPr sz="2400">
                <a:solidFill>
                  <a:schemeClr val="accent6"/>
                </a:solidFill>
              </a:defRPr>
            </a:lvl2pPr>
            <a:lvl3pPr>
              <a:defRPr sz="2400">
                <a:solidFill>
                  <a:schemeClr val="accent6"/>
                </a:solidFill>
              </a:defRPr>
            </a:lvl3pPr>
            <a:lvl4pPr>
              <a:defRPr sz="2400">
                <a:solidFill>
                  <a:schemeClr val="accent6"/>
                </a:solidFill>
              </a:defRPr>
            </a:lvl4pPr>
            <a:lvl5pPr>
              <a:defRPr sz="24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pic>
        <p:nvPicPr>
          <p:cNvPr id="119" name="Imagem 118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1190563"/>
            <a:ext cx="4401693" cy="5529551"/>
          </a:xfrm>
          <a:prstGeom prst="rect">
            <a:avLst/>
          </a:prstGeom>
        </p:spPr>
      </p:pic>
      <p:grpSp>
        <p:nvGrpSpPr>
          <p:cNvPr id="120" name="Agrupar 119"/>
          <p:cNvGrpSpPr/>
          <p:nvPr/>
        </p:nvGrpSpPr>
        <p:grpSpPr>
          <a:xfrm>
            <a:off x="1860524" y="3425410"/>
            <a:ext cx="298866" cy="298866"/>
            <a:chOff x="2493936" y="4897021"/>
            <a:chExt cx="310774" cy="310774"/>
          </a:xfrm>
        </p:grpSpPr>
        <p:sp>
          <p:nvSpPr>
            <p:cNvPr id="121" name="Retângulo Arredondado 120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2" name="Retângulo Arredondado 121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thinThick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2322487" y="4158834"/>
            <a:ext cx="298866" cy="298866"/>
            <a:chOff x="2493936" y="4897021"/>
            <a:chExt cx="310774" cy="310774"/>
          </a:xfrm>
        </p:grpSpPr>
        <p:sp>
          <p:nvSpPr>
            <p:cNvPr id="124" name="Retângulo Arredondado 123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5" name="Retângulo Arredondado 124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thickThin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6" name="Agrupar 125"/>
          <p:cNvGrpSpPr/>
          <p:nvPr/>
        </p:nvGrpSpPr>
        <p:grpSpPr>
          <a:xfrm>
            <a:off x="2503462" y="5073234"/>
            <a:ext cx="298866" cy="298866"/>
            <a:chOff x="2493936" y="4897021"/>
            <a:chExt cx="310774" cy="310774"/>
          </a:xfrm>
        </p:grpSpPr>
        <p:sp>
          <p:nvSpPr>
            <p:cNvPr id="127" name="Retângulo Arredondado 126"/>
            <p:cNvSpPr/>
            <p:nvPr/>
          </p:nvSpPr>
          <p:spPr>
            <a:xfrm>
              <a:off x="2532038" y="4935123"/>
              <a:ext cx="234570" cy="234570"/>
            </a:xfrm>
            <a:prstGeom prst="roundRect">
              <a:avLst>
                <a:gd name="adj" fmla="val 1497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8" name="Retângulo Arredondado 127"/>
            <p:cNvSpPr/>
            <p:nvPr/>
          </p:nvSpPr>
          <p:spPr>
            <a:xfrm>
              <a:off x="2493936" y="4897021"/>
              <a:ext cx="310774" cy="310774"/>
            </a:xfrm>
            <a:prstGeom prst="roundRect">
              <a:avLst>
                <a:gd name="adj" fmla="val 16508"/>
              </a:avLst>
            </a:prstGeom>
            <a:noFill/>
            <a:ln w="28575" cmpd="dbl">
              <a:solidFill>
                <a:schemeClr val="accent5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7" name="Forma Livre 16"/>
          <p:cNvSpPr/>
          <p:nvPr/>
        </p:nvSpPr>
        <p:spPr>
          <a:xfrm>
            <a:off x="336551" y="443767"/>
            <a:ext cx="2840506" cy="434591"/>
          </a:xfrm>
          <a:custGeom>
            <a:avLst/>
            <a:gdLst/>
            <a:ahLst/>
            <a:cxnLst/>
            <a:rect l="l" t="t" r="r" b="b"/>
            <a:pathLst>
              <a:path w="2502989" h="382952">
                <a:moveTo>
                  <a:pt x="374932" y="209702"/>
                </a:moveTo>
                <a:cubicBezTo>
                  <a:pt x="358276" y="209702"/>
                  <a:pt x="345374" y="212364"/>
                  <a:pt x="336227" y="217689"/>
                </a:cubicBezTo>
                <a:cubicBezTo>
                  <a:pt x="327080" y="223013"/>
                  <a:pt x="322506" y="230590"/>
                  <a:pt x="322506" y="240420"/>
                </a:cubicBezTo>
                <a:cubicBezTo>
                  <a:pt x="322506" y="248885"/>
                  <a:pt x="325237" y="255574"/>
                  <a:pt x="330698" y="260489"/>
                </a:cubicBezTo>
                <a:cubicBezTo>
                  <a:pt x="336159" y="265404"/>
                  <a:pt x="343395" y="267862"/>
                  <a:pt x="352405" y="267862"/>
                </a:cubicBezTo>
                <a:cubicBezTo>
                  <a:pt x="363054" y="267862"/>
                  <a:pt x="372065" y="264039"/>
                  <a:pt x="379437" y="256394"/>
                </a:cubicBezTo>
                <a:cubicBezTo>
                  <a:pt x="386810" y="248748"/>
                  <a:pt x="390496" y="239328"/>
                  <a:pt x="390496" y="228133"/>
                </a:cubicBezTo>
                <a:lnTo>
                  <a:pt x="390496" y="210112"/>
                </a:lnTo>
                <a:cubicBezTo>
                  <a:pt x="388038" y="209839"/>
                  <a:pt x="385513" y="209702"/>
                  <a:pt x="382919" y="209702"/>
                </a:cubicBezTo>
                <a:cubicBezTo>
                  <a:pt x="380325" y="209702"/>
                  <a:pt x="377663" y="209702"/>
                  <a:pt x="374932" y="209702"/>
                </a:cubicBezTo>
                <a:close/>
                <a:moveTo>
                  <a:pt x="2458345" y="198234"/>
                </a:moveTo>
                <a:cubicBezTo>
                  <a:pt x="2429948" y="198234"/>
                  <a:pt x="2408309" y="202466"/>
                  <a:pt x="2393427" y="210931"/>
                </a:cubicBezTo>
                <a:cubicBezTo>
                  <a:pt x="2378546" y="219395"/>
                  <a:pt x="2371105" y="231819"/>
                  <a:pt x="2371105" y="248202"/>
                </a:cubicBezTo>
                <a:cubicBezTo>
                  <a:pt x="2371105" y="261035"/>
                  <a:pt x="2375269" y="271343"/>
                  <a:pt x="2383597" y="279125"/>
                </a:cubicBezTo>
                <a:cubicBezTo>
                  <a:pt x="2391926" y="286907"/>
                  <a:pt x="2403052" y="290798"/>
                  <a:pt x="2416978" y="290798"/>
                </a:cubicBezTo>
                <a:cubicBezTo>
                  <a:pt x="2428719" y="290798"/>
                  <a:pt x="2439368" y="287794"/>
                  <a:pt x="2448925" y="281787"/>
                </a:cubicBezTo>
                <a:cubicBezTo>
                  <a:pt x="2458481" y="275780"/>
                  <a:pt x="2465922" y="268135"/>
                  <a:pt x="2471247" y="258851"/>
                </a:cubicBezTo>
                <a:cubicBezTo>
                  <a:pt x="2476571" y="249567"/>
                  <a:pt x="2479233" y="239601"/>
                  <a:pt x="2479233" y="228952"/>
                </a:cubicBezTo>
                <a:lnTo>
                  <a:pt x="2479233" y="198644"/>
                </a:lnTo>
                <a:cubicBezTo>
                  <a:pt x="2474318" y="198371"/>
                  <a:pt x="2467356" y="198234"/>
                  <a:pt x="2458345" y="198234"/>
                </a:cubicBezTo>
                <a:close/>
                <a:moveTo>
                  <a:pt x="1858270" y="198234"/>
                </a:moveTo>
                <a:cubicBezTo>
                  <a:pt x="1829873" y="198234"/>
                  <a:pt x="1808233" y="202466"/>
                  <a:pt x="1793352" y="210931"/>
                </a:cubicBezTo>
                <a:cubicBezTo>
                  <a:pt x="1778471" y="219395"/>
                  <a:pt x="1771030" y="231819"/>
                  <a:pt x="1771030" y="248202"/>
                </a:cubicBezTo>
                <a:cubicBezTo>
                  <a:pt x="1771030" y="261035"/>
                  <a:pt x="1775194" y="271343"/>
                  <a:pt x="1783522" y="279125"/>
                </a:cubicBezTo>
                <a:cubicBezTo>
                  <a:pt x="1791850" y="286907"/>
                  <a:pt x="1802977" y="290798"/>
                  <a:pt x="1816903" y="290798"/>
                </a:cubicBezTo>
                <a:cubicBezTo>
                  <a:pt x="1828644" y="290798"/>
                  <a:pt x="1839293" y="287794"/>
                  <a:pt x="1848850" y="281787"/>
                </a:cubicBezTo>
                <a:cubicBezTo>
                  <a:pt x="1858406" y="275780"/>
                  <a:pt x="1865847" y="268135"/>
                  <a:pt x="1871171" y="258851"/>
                </a:cubicBezTo>
                <a:cubicBezTo>
                  <a:pt x="1876496" y="249567"/>
                  <a:pt x="1879158" y="239601"/>
                  <a:pt x="1879158" y="228952"/>
                </a:cubicBezTo>
                <a:lnTo>
                  <a:pt x="1879158" y="198644"/>
                </a:lnTo>
                <a:cubicBezTo>
                  <a:pt x="1874243" y="198371"/>
                  <a:pt x="1867281" y="198234"/>
                  <a:pt x="1858270" y="198234"/>
                </a:cubicBezTo>
                <a:close/>
                <a:moveTo>
                  <a:pt x="1045578" y="111404"/>
                </a:moveTo>
                <a:cubicBezTo>
                  <a:pt x="1024826" y="111404"/>
                  <a:pt x="1008306" y="119391"/>
                  <a:pt x="996019" y="135364"/>
                </a:cubicBezTo>
                <a:cubicBezTo>
                  <a:pt x="983732" y="151338"/>
                  <a:pt x="977588" y="172977"/>
                  <a:pt x="977588" y="200282"/>
                </a:cubicBezTo>
                <a:cubicBezTo>
                  <a:pt x="977588" y="227041"/>
                  <a:pt x="983800" y="248543"/>
                  <a:pt x="996224" y="264790"/>
                </a:cubicBezTo>
                <a:cubicBezTo>
                  <a:pt x="1008648" y="281036"/>
                  <a:pt x="1025236" y="289160"/>
                  <a:pt x="1045987" y="289160"/>
                </a:cubicBezTo>
                <a:cubicBezTo>
                  <a:pt x="1066739" y="289160"/>
                  <a:pt x="1083259" y="281105"/>
                  <a:pt x="1095546" y="264995"/>
                </a:cubicBezTo>
                <a:cubicBezTo>
                  <a:pt x="1107833" y="248885"/>
                  <a:pt x="1113977" y="227314"/>
                  <a:pt x="1113977" y="200282"/>
                </a:cubicBezTo>
                <a:cubicBezTo>
                  <a:pt x="1113977" y="173523"/>
                  <a:pt x="1107765" y="152020"/>
                  <a:pt x="1095341" y="135774"/>
                </a:cubicBezTo>
                <a:cubicBezTo>
                  <a:pt x="1082917" y="119527"/>
                  <a:pt x="1066330" y="111404"/>
                  <a:pt x="1045578" y="111404"/>
                </a:cubicBezTo>
                <a:close/>
                <a:moveTo>
                  <a:pt x="1624860" y="110994"/>
                </a:moveTo>
                <a:cubicBezTo>
                  <a:pt x="1605473" y="110994"/>
                  <a:pt x="1589909" y="119118"/>
                  <a:pt x="1578168" y="135364"/>
                </a:cubicBezTo>
                <a:cubicBezTo>
                  <a:pt x="1566427" y="151611"/>
                  <a:pt x="1560556" y="172977"/>
                  <a:pt x="1560556" y="199463"/>
                </a:cubicBezTo>
                <a:cubicBezTo>
                  <a:pt x="1560556" y="217757"/>
                  <a:pt x="1563355" y="233730"/>
                  <a:pt x="1568953" y="247383"/>
                </a:cubicBezTo>
                <a:cubicBezTo>
                  <a:pt x="1574550" y="261035"/>
                  <a:pt x="1582196" y="271480"/>
                  <a:pt x="1591889" y="278715"/>
                </a:cubicBezTo>
                <a:cubicBezTo>
                  <a:pt x="1601582" y="285951"/>
                  <a:pt x="1612572" y="289569"/>
                  <a:pt x="1624860" y="289569"/>
                </a:cubicBezTo>
                <a:cubicBezTo>
                  <a:pt x="1645065" y="289569"/>
                  <a:pt x="1661107" y="281514"/>
                  <a:pt x="1672985" y="265404"/>
                </a:cubicBezTo>
                <a:cubicBezTo>
                  <a:pt x="1684862" y="249294"/>
                  <a:pt x="1690801" y="227450"/>
                  <a:pt x="1690801" y="199872"/>
                </a:cubicBezTo>
                <a:cubicBezTo>
                  <a:pt x="1690801" y="172567"/>
                  <a:pt x="1684862" y="150928"/>
                  <a:pt x="1672985" y="134955"/>
                </a:cubicBezTo>
                <a:cubicBezTo>
                  <a:pt x="1661107" y="118981"/>
                  <a:pt x="1645065" y="110994"/>
                  <a:pt x="1624860" y="110994"/>
                </a:cubicBezTo>
                <a:close/>
                <a:moveTo>
                  <a:pt x="1405785" y="110994"/>
                </a:moveTo>
                <a:cubicBezTo>
                  <a:pt x="1386398" y="110994"/>
                  <a:pt x="1370834" y="119118"/>
                  <a:pt x="1359093" y="135364"/>
                </a:cubicBezTo>
                <a:cubicBezTo>
                  <a:pt x="1347352" y="151611"/>
                  <a:pt x="1341481" y="172977"/>
                  <a:pt x="1341481" y="199463"/>
                </a:cubicBezTo>
                <a:cubicBezTo>
                  <a:pt x="1341481" y="217757"/>
                  <a:pt x="1344280" y="233730"/>
                  <a:pt x="1349878" y="247383"/>
                </a:cubicBezTo>
                <a:cubicBezTo>
                  <a:pt x="1355475" y="261035"/>
                  <a:pt x="1363121" y="271480"/>
                  <a:pt x="1372814" y="278715"/>
                </a:cubicBezTo>
                <a:cubicBezTo>
                  <a:pt x="1382507" y="285951"/>
                  <a:pt x="1393497" y="289569"/>
                  <a:pt x="1405785" y="289569"/>
                </a:cubicBezTo>
                <a:cubicBezTo>
                  <a:pt x="1425990" y="289569"/>
                  <a:pt x="1442032" y="281514"/>
                  <a:pt x="1453910" y="265404"/>
                </a:cubicBezTo>
                <a:cubicBezTo>
                  <a:pt x="1465787" y="249294"/>
                  <a:pt x="1471726" y="227450"/>
                  <a:pt x="1471726" y="199872"/>
                </a:cubicBezTo>
                <a:cubicBezTo>
                  <a:pt x="1471726" y="172567"/>
                  <a:pt x="1465787" y="150928"/>
                  <a:pt x="1453910" y="134955"/>
                </a:cubicBezTo>
                <a:cubicBezTo>
                  <a:pt x="1442032" y="118981"/>
                  <a:pt x="1425990" y="110994"/>
                  <a:pt x="1405785" y="110994"/>
                </a:cubicBezTo>
                <a:close/>
                <a:moveTo>
                  <a:pt x="1260967" y="91335"/>
                </a:moveTo>
                <a:cubicBezTo>
                  <a:pt x="1268066" y="91335"/>
                  <a:pt x="1274346" y="92291"/>
                  <a:pt x="1279807" y="94202"/>
                </a:cubicBezTo>
                <a:lnTo>
                  <a:pt x="1279807" y="115909"/>
                </a:lnTo>
                <a:cubicBezTo>
                  <a:pt x="1274346" y="113998"/>
                  <a:pt x="1267929" y="113042"/>
                  <a:pt x="1260557" y="113042"/>
                </a:cubicBezTo>
                <a:cubicBezTo>
                  <a:pt x="1244993" y="113042"/>
                  <a:pt x="1232501" y="119323"/>
                  <a:pt x="1223081" y="131883"/>
                </a:cubicBezTo>
                <a:cubicBezTo>
                  <a:pt x="1213661" y="144443"/>
                  <a:pt x="1208951" y="161099"/>
                  <a:pt x="1208951" y="181851"/>
                </a:cubicBezTo>
                <a:lnTo>
                  <a:pt x="1208951" y="305133"/>
                </a:lnTo>
                <a:lnTo>
                  <a:pt x="1185195" y="305133"/>
                </a:lnTo>
                <a:lnTo>
                  <a:pt x="1185195" y="95431"/>
                </a:lnTo>
                <a:lnTo>
                  <a:pt x="1206084" y="95431"/>
                </a:lnTo>
                <a:lnTo>
                  <a:pt x="1207722" y="127787"/>
                </a:lnTo>
                <a:cubicBezTo>
                  <a:pt x="1212637" y="116319"/>
                  <a:pt x="1219804" y="107377"/>
                  <a:pt x="1229224" y="100960"/>
                </a:cubicBezTo>
                <a:cubicBezTo>
                  <a:pt x="1238645" y="94543"/>
                  <a:pt x="1249225" y="91335"/>
                  <a:pt x="1260967" y="91335"/>
                </a:cubicBezTo>
                <a:close/>
                <a:moveTo>
                  <a:pt x="491204" y="91335"/>
                </a:moveTo>
                <a:lnTo>
                  <a:pt x="553459" y="91335"/>
                </a:lnTo>
                <a:lnTo>
                  <a:pt x="553459" y="217074"/>
                </a:lnTo>
                <a:cubicBezTo>
                  <a:pt x="553459" y="230727"/>
                  <a:pt x="556258" y="241239"/>
                  <a:pt x="561855" y="248612"/>
                </a:cubicBezTo>
                <a:cubicBezTo>
                  <a:pt x="567453" y="255984"/>
                  <a:pt x="575440" y="259670"/>
                  <a:pt x="585816" y="259670"/>
                </a:cubicBezTo>
                <a:cubicBezTo>
                  <a:pt x="596191" y="259670"/>
                  <a:pt x="604451" y="255916"/>
                  <a:pt x="610595" y="248407"/>
                </a:cubicBezTo>
                <a:cubicBezTo>
                  <a:pt x="616738" y="240898"/>
                  <a:pt x="619810" y="230590"/>
                  <a:pt x="619810" y="217484"/>
                </a:cubicBezTo>
                <a:lnTo>
                  <a:pt x="619810" y="91335"/>
                </a:lnTo>
                <a:lnTo>
                  <a:pt x="682066" y="91335"/>
                </a:lnTo>
                <a:lnTo>
                  <a:pt x="682066" y="305133"/>
                </a:lnTo>
                <a:lnTo>
                  <a:pt x="627592" y="305133"/>
                </a:lnTo>
                <a:lnTo>
                  <a:pt x="624316" y="281787"/>
                </a:lnTo>
                <a:cubicBezTo>
                  <a:pt x="617216" y="291071"/>
                  <a:pt x="608410" y="298170"/>
                  <a:pt x="597898" y="303085"/>
                </a:cubicBezTo>
                <a:cubicBezTo>
                  <a:pt x="587385" y="308000"/>
                  <a:pt x="575849" y="310458"/>
                  <a:pt x="563289" y="310458"/>
                </a:cubicBezTo>
                <a:cubicBezTo>
                  <a:pt x="541445" y="310458"/>
                  <a:pt x="523970" y="302880"/>
                  <a:pt x="510863" y="287726"/>
                </a:cubicBezTo>
                <a:cubicBezTo>
                  <a:pt x="497757" y="272572"/>
                  <a:pt x="491204" y="252434"/>
                  <a:pt x="491204" y="227314"/>
                </a:cubicBezTo>
                <a:close/>
                <a:moveTo>
                  <a:pt x="2426398" y="90106"/>
                </a:moveTo>
                <a:cubicBezTo>
                  <a:pt x="2450972" y="90106"/>
                  <a:pt x="2469881" y="97410"/>
                  <a:pt x="2483124" y="112018"/>
                </a:cubicBezTo>
                <a:cubicBezTo>
                  <a:pt x="2496367" y="126627"/>
                  <a:pt x="2502989" y="147583"/>
                  <a:pt x="2502989" y="174888"/>
                </a:cubicBezTo>
                <a:lnTo>
                  <a:pt x="2502989" y="305133"/>
                </a:lnTo>
                <a:lnTo>
                  <a:pt x="2482100" y="305133"/>
                </a:lnTo>
                <a:lnTo>
                  <a:pt x="2480462" y="274415"/>
                </a:lnTo>
                <a:cubicBezTo>
                  <a:pt x="2474182" y="285610"/>
                  <a:pt x="2464966" y="294416"/>
                  <a:pt x="2452815" y="300833"/>
                </a:cubicBezTo>
                <a:cubicBezTo>
                  <a:pt x="2440665" y="307249"/>
                  <a:pt x="2427490" y="310458"/>
                  <a:pt x="2413292" y="310458"/>
                </a:cubicBezTo>
                <a:cubicBezTo>
                  <a:pt x="2393359" y="310458"/>
                  <a:pt x="2377385" y="304997"/>
                  <a:pt x="2365371" y="294075"/>
                </a:cubicBezTo>
                <a:cubicBezTo>
                  <a:pt x="2353357" y="283153"/>
                  <a:pt x="2347350" y="268544"/>
                  <a:pt x="2347350" y="250250"/>
                </a:cubicBezTo>
                <a:cubicBezTo>
                  <a:pt x="2347350" y="227041"/>
                  <a:pt x="2357112" y="209292"/>
                  <a:pt x="2376635" y="197005"/>
                </a:cubicBezTo>
                <a:cubicBezTo>
                  <a:pt x="2396158" y="184718"/>
                  <a:pt x="2424487" y="178574"/>
                  <a:pt x="2461621" y="178574"/>
                </a:cubicBezTo>
                <a:cubicBezTo>
                  <a:pt x="2464625" y="178574"/>
                  <a:pt x="2467628" y="178574"/>
                  <a:pt x="2470632" y="178574"/>
                </a:cubicBezTo>
                <a:cubicBezTo>
                  <a:pt x="2473636" y="178574"/>
                  <a:pt x="2476503" y="178711"/>
                  <a:pt x="2479233" y="178984"/>
                </a:cubicBezTo>
                <a:lnTo>
                  <a:pt x="2479233" y="177346"/>
                </a:lnTo>
                <a:cubicBezTo>
                  <a:pt x="2479233" y="154956"/>
                  <a:pt x="2474728" y="138368"/>
                  <a:pt x="2465717" y="127582"/>
                </a:cubicBezTo>
                <a:cubicBezTo>
                  <a:pt x="2456706" y="116797"/>
                  <a:pt x="2442917" y="111404"/>
                  <a:pt x="2424350" y="111404"/>
                </a:cubicBezTo>
                <a:cubicBezTo>
                  <a:pt x="2403052" y="111404"/>
                  <a:pt x="2382846" y="117821"/>
                  <a:pt x="2363733" y="130654"/>
                </a:cubicBezTo>
                <a:lnTo>
                  <a:pt x="2363733" y="108537"/>
                </a:lnTo>
                <a:cubicBezTo>
                  <a:pt x="2382573" y="96250"/>
                  <a:pt x="2403462" y="90106"/>
                  <a:pt x="2426398" y="90106"/>
                </a:cubicBezTo>
                <a:close/>
                <a:moveTo>
                  <a:pt x="2258529" y="90106"/>
                </a:moveTo>
                <a:cubicBezTo>
                  <a:pt x="2279281" y="90106"/>
                  <a:pt x="2296074" y="94338"/>
                  <a:pt x="2308907" y="102803"/>
                </a:cubicBezTo>
                <a:lnTo>
                  <a:pt x="2308907" y="125739"/>
                </a:lnTo>
                <a:cubicBezTo>
                  <a:pt x="2297166" y="116455"/>
                  <a:pt x="2280783" y="111814"/>
                  <a:pt x="2259758" y="111814"/>
                </a:cubicBezTo>
                <a:cubicBezTo>
                  <a:pt x="2237368" y="111814"/>
                  <a:pt x="2219688" y="119732"/>
                  <a:pt x="2206718" y="135569"/>
                </a:cubicBezTo>
                <a:cubicBezTo>
                  <a:pt x="2193748" y="151406"/>
                  <a:pt x="2187263" y="172977"/>
                  <a:pt x="2187263" y="200282"/>
                </a:cubicBezTo>
                <a:cubicBezTo>
                  <a:pt x="2187263" y="227041"/>
                  <a:pt x="2193817" y="248475"/>
                  <a:pt x="2206923" y="264585"/>
                </a:cubicBezTo>
                <a:cubicBezTo>
                  <a:pt x="2220029" y="280695"/>
                  <a:pt x="2237778" y="288750"/>
                  <a:pt x="2260168" y="288750"/>
                </a:cubicBezTo>
                <a:cubicBezTo>
                  <a:pt x="2279827" y="288750"/>
                  <a:pt x="2297303" y="283562"/>
                  <a:pt x="2312593" y="273186"/>
                </a:cubicBezTo>
                <a:lnTo>
                  <a:pt x="2312593" y="295713"/>
                </a:lnTo>
                <a:cubicBezTo>
                  <a:pt x="2295937" y="305543"/>
                  <a:pt x="2277779" y="310458"/>
                  <a:pt x="2258120" y="310458"/>
                </a:cubicBezTo>
                <a:cubicBezTo>
                  <a:pt x="2229177" y="310458"/>
                  <a:pt x="2206104" y="300559"/>
                  <a:pt x="2188902" y="280763"/>
                </a:cubicBezTo>
                <a:cubicBezTo>
                  <a:pt x="2171700" y="260967"/>
                  <a:pt x="2163098" y="234277"/>
                  <a:pt x="2163098" y="200691"/>
                </a:cubicBezTo>
                <a:cubicBezTo>
                  <a:pt x="2163098" y="178301"/>
                  <a:pt x="2167194" y="158778"/>
                  <a:pt x="2175386" y="142122"/>
                </a:cubicBezTo>
                <a:cubicBezTo>
                  <a:pt x="2183577" y="125466"/>
                  <a:pt x="2194841" y="112633"/>
                  <a:pt x="2209176" y="103622"/>
                </a:cubicBezTo>
                <a:cubicBezTo>
                  <a:pt x="2223511" y="94611"/>
                  <a:pt x="2239962" y="90106"/>
                  <a:pt x="2258529" y="90106"/>
                </a:cubicBezTo>
                <a:close/>
                <a:moveTo>
                  <a:pt x="2045189" y="90106"/>
                </a:moveTo>
                <a:cubicBezTo>
                  <a:pt x="2067306" y="90106"/>
                  <a:pt x="2084917" y="97683"/>
                  <a:pt x="2098024" y="112838"/>
                </a:cubicBezTo>
                <a:cubicBezTo>
                  <a:pt x="2111130" y="127992"/>
                  <a:pt x="2117683" y="148539"/>
                  <a:pt x="2117683" y="174479"/>
                </a:cubicBezTo>
                <a:lnTo>
                  <a:pt x="2117683" y="305133"/>
                </a:lnTo>
                <a:lnTo>
                  <a:pt x="2093928" y="305133"/>
                </a:lnTo>
                <a:lnTo>
                  <a:pt x="2093928" y="177755"/>
                </a:lnTo>
                <a:cubicBezTo>
                  <a:pt x="2093928" y="156730"/>
                  <a:pt x="2089218" y="140416"/>
                  <a:pt x="2079798" y="128811"/>
                </a:cubicBezTo>
                <a:cubicBezTo>
                  <a:pt x="2070377" y="117206"/>
                  <a:pt x="2057203" y="111404"/>
                  <a:pt x="2040274" y="111404"/>
                </a:cubicBezTo>
                <a:cubicBezTo>
                  <a:pt x="2022525" y="111404"/>
                  <a:pt x="2008122" y="117548"/>
                  <a:pt x="1997063" y="129835"/>
                </a:cubicBezTo>
                <a:cubicBezTo>
                  <a:pt x="1986005" y="142122"/>
                  <a:pt x="1980476" y="157959"/>
                  <a:pt x="1980476" y="177346"/>
                </a:cubicBezTo>
                <a:lnTo>
                  <a:pt x="1980476" y="305133"/>
                </a:lnTo>
                <a:lnTo>
                  <a:pt x="1956720" y="305133"/>
                </a:lnTo>
                <a:lnTo>
                  <a:pt x="1956720" y="95431"/>
                </a:lnTo>
                <a:lnTo>
                  <a:pt x="1977609" y="95431"/>
                </a:lnTo>
                <a:lnTo>
                  <a:pt x="1979247" y="126968"/>
                </a:lnTo>
                <a:cubicBezTo>
                  <a:pt x="1986073" y="115227"/>
                  <a:pt x="1995220" y="106148"/>
                  <a:pt x="2006688" y="99731"/>
                </a:cubicBezTo>
                <a:cubicBezTo>
                  <a:pt x="2018156" y="93314"/>
                  <a:pt x="2030990" y="90106"/>
                  <a:pt x="2045189" y="90106"/>
                </a:cubicBezTo>
                <a:close/>
                <a:moveTo>
                  <a:pt x="1826323" y="90106"/>
                </a:moveTo>
                <a:cubicBezTo>
                  <a:pt x="1850898" y="90106"/>
                  <a:pt x="1869806" y="97410"/>
                  <a:pt x="1883049" y="112018"/>
                </a:cubicBezTo>
                <a:cubicBezTo>
                  <a:pt x="1896292" y="126627"/>
                  <a:pt x="1902914" y="147583"/>
                  <a:pt x="1902914" y="174888"/>
                </a:cubicBezTo>
                <a:lnTo>
                  <a:pt x="1902914" y="305133"/>
                </a:lnTo>
                <a:lnTo>
                  <a:pt x="1882025" y="305133"/>
                </a:lnTo>
                <a:lnTo>
                  <a:pt x="1880387" y="274415"/>
                </a:lnTo>
                <a:cubicBezTo>
                  <a:pt x="1874107" y="285610"/>
                  <a:pt x="1864891" y="294416"/>
                  <a:pt x="1852741" y="300833"/>
                </a:cubicBezTo>
                <a:cubicBezTo>
                  <a:pt x="1840590" y="307249"/>
                  <a:pt x="1827415" y="310458"/>
                  <a:pt x="1813217" y="310458"/>
                </a:cubicBezTo>
                <a:cubicBezTo>
                  <a:pt x="1793284" y="310458"/>
                  <a:pt x="1777311" y="304997"/>
                  <a:pt x="1765296" y="294075"/>
                </a:cubicBezTo>
                <a:cubicBezTo>
                  <a:pt x="1753282" y="283153"/>
                  <a:pt x="1747275" y="268544"/>
                  <a:pt x="1747275" y="250250"/>
                </a:cubicBezTo>
                <a:cubicBezTo>
                  <a:pt x="1747275" y="227041"/>
                  <a:pt x="1757037" y="209292"/>
                  <a:pt x="1776560" y="197005"/>
                </a:cubicBezTo>
                <a:cubicBezTo>
                  <a:pt x="1796083" y="184718"/>
                  <a:pt x="1824412" y="178574"/>
                  <a:pt x="1861546" y="178574"/>
                </a:cubicBezTo>
                <a:cubicBezTo>
                  <a:pt x="1864550" y="178574"/>
                  <a:pt x="1867554" y="178574"/>
                  <a:pt x="1870557" y="178574"/>
                </a:cubicBezTo>
                <a:cubicBezTo>
                  <a:pt x="1873561" y="178574"/>
                  <a:pt x="1876428" y="178711"/>
                  <a:pt x="1879158" y="178984"/>
                </a:cubicBezTo>
                <a:lnTo>
                  <a:pt x="1879158" y="177346"/>
                </a:lnTo>
                <a:cubicBezTo>
                  <a:pt x="1879158" y="154956"/>
                  <a:pt x="1874653" y="138368"/>
                  <a:pt x="1865642" y="127582"/>
                </a:cubicBezTo>
                <a:cubicBezTo>
                  <a:pt x="1856632" y="116797"/>
                  <a:pt x="1842843" y="111404"/>
                  <a:pt x="1824275" y="111404"/>
                </a:cubicBezTo>
                <a:cubicBezTo>
                  <a:pt x="1802977" y="111404"/>
                  <a:pt x="1782772" y="117821"/>
                  <a:pt x="1763658" y="130654"/>
                </a:cubicBezTo>
                <a:lnTo>
                  <a:pt x="1763658" y="108537"/>
                </a:lnTo>
                <a:cubicBezTo>
                  <a:pt x="1782499" y="96250"/>
                  <a:pt x="1803387" y="90106"/>
                  <a:pt x="1826323" y="90106"/>
                </a:cubicBezTo>
                <a:close/>
                <a:moveTo>
                  <a:pt x="1411109" y="90106"/>
                </a:moveTo>
                <a:cubicBezTo>
                  <a:pt x="1428311" y="90106"/>
                  <a:pt x="1443329" y="94816"/>
                  <a:pt x="1456162" y="104237"/>
                </a:cubicBezTo>
                <a:cubicBezTo>
                  <a:pt x="1468996" y="113657"/>
                  <a:pt x="1478826" y="126558"/>
                  <a:pt x="1485652" y="142941"/>
                </a:cubicBezTo>
                <a:cubicBezTo>
                  <a:pt x="1492478" y="159324"/>
                  <a:pt x="1495891" y="178028"/>
                  <a:pt x="1495891" y="199053"/>
                </a:cubicBezTo>
                <a:cubicBezTo>
                  <a:pt x="1495891" y="232911"/>
                  <a:pt x="1487904" y="259943"/>
                  <a:pt x="1471931" y="280149"/>
                </a:cubicBezTo>
                <a:cubicBezTo>
                  <a:pt x="1455958" y="300355"/>
                  <a:pt x="1434728" y="310458"/>
                  <a:pt x="1408242" y="310458"/>
                </a:cubicBezTo>
                <a:cubicBezTo>
                  <a:pt x="1393770" y="310458"/>
                  <a:pt x="1380869" y="307044"/>
                  <a:pt x="1369537" y="300218"/>
                </a:cubicBezTo>
                <a:cubicBezTo>
                  <a:pt x="1358206" y="293392"/>
                  <a:pt x="1349127" y="283562"/>
                  <a:pt x="1342301" y="270729"/>
                </a:cubicBezTo>
                <a:lnTo>
                  <a:pt x="1342301" y="382952"/>
                </a:lnTo>
                <a:lnTo>
                  <a:pt x="1318545" y="382952"/>
                </a:lnTo>
                <a:lnTo>
                  <a:pt x="1318545" y="95431"/>
                </a:lnTo>
                <a:lnTo>
                  <a:pt x="1339433" y="95431"/>
                </a:lnTo>
                <a:lnTo>
                  <a:pt x="1341481" y="133521"/>
                </a:lnTo>
                <a:cubicBezTo>
                  <a:pt x="1347762" y="120142"/>
                  <a:pt x="1357113" y="109561"/>
                  <a:pt x="1369537" y="101779"/>
                </a:cubicBezTo>
                <a:cubicBezTo>
                  <a:pt x="1381961" y="93997"/>
                  <a:pt x="1395818" y="90106"/>
                  <a:pt x="1411109" y="90106"/>
                </a:cubicBezTo>
                <a:close/>
                <a:moveTo>
                  <a:pt x="1045987" y="90106"/>
                </a:moveTo>
                <a:cubicBezTo>
                  <a:pt x="1064555" y="90106"/>
                  <a:pt x="1080869" y="94816"/>
                  <a:pt x="1094932" y="104237"/>
                </a:cubicBezTo>
                <a:cubicBezTo>
                  <a:pt x="1108994" y="113657"/>
                  <a:pt x="1119711" y="126627"/>
                  <a:pt x="1127083" y="143146"/>
                </a:cubicBezTo>
                <a:cubicBezTo>
                  <a:pt x="1134456" y="159666"/>
                  <a:pt x="1138142" y="178574"/>
                  <a:pt x="1138142" y="199872"/>
                </a:cubicBezTo>
                <a:cubicBezTo>
                  <a:pt x="1138142" y="222262"/>
                  <a:pt x="1134114" y="241785"/>
                  <a:pt x="1126059" y="258441"/>
                </a:cubicBezTo>
                <a:cubicBezTo>
                  <a:pt x="1118004" y="275098"/>
                  <a:pt x="1107014" y="287931"/>
                  <a:pt x="1093088" y="296942"/>
                </a:cubicBezTo>
                <a:cubicBezTo>
                  <a:pt x="1079163" y="305952"/>
                  <a:pt x="1063326" y="310458"/>
                  <a:pt x="1045578" y="310458"/>
                </a:cubicBezTo>
                <a:cubicBezTo>
                  <a:pt x="1027010" y="310458"/>
                  <a:pt x="1010764" y="305679"/>
                  <a:pt x="996838" y="296122"/>
                </a:cubicBezTo>
                <a:cubicBezTo>
                  <a:pt x="982913" y="286566"/>
                  <a:pt x="972196" y="273528"/>
                  <a:pt x="964687" y="257008"/>
                </a:cubicBezTo>
                <a:cubicBezTo>
                  <a:pt x="957178" y="240488"/>
                  <a:pt x="953423" y="221716"/>
                  <a:pt x="953423" y="200691"/>
                </a:cubicBezTo>
                <a:cubicBezTo>
                  <a:pt x="953423" y="178301"/>
                  <a:pt x="957451" y="158778"/>
                  <a:pt x="965506" y="142122"/>
                </a:cubicBezTo>
                <a:cubicBezTo>
                  <a:pt x="973561" y="125466"/>
                  <a:pt x="984551" y="112633"/>
                  <a:pt x="998477" y="103622"/>
                </a:cubicBezTo>
                <a:cubicBezTo>
                  <a:pt x="1012402" y="94611"/>
                  <a:pt x="1028239" y="90106"/>
                  <a:pt x="1045987" y="90106"/>
                </a:cubicBezTo>
                <a:close/>
                <a:moveTo>
                  <a:pt x="354044" y="86010"/>
                </a:moveTo>
                <a:cubicBezTo>
                  <a:pt x="384352" y="86010"/>
                  <a:pt x="407766" y="94065"/>
                  <a:pt x="424286" y="110175"/>
                </a:cubicBezTo>
                <a:cubicBezTo>
                  <a:pt x="440805" y="126285"/>
                  <a:pt x="449065" y="149358"/>
                  <a:pt x="449065" y="179394"/>
                </a:cubicBezTo>
                <a:lnTo>
                  <a:pt x="449065" y="305133"/>
                </a:lnTo>
                <a:lnTo>
                  <a:pt x="398278" y="305133"/>
                </a:lnTo>
                <a:lnTo>
                  <a:pt x="395001" y="282606"/>
                </a:lnTo>
                <a:cubicBezTo>
                  <a:pt x="388721" y="291344"/>
                  <a:pt x="380188" y="298170"/>
                  <a:pt x="369403" y="303085"/>
                </a:cubicBezTo>
                <a:cubicBezTo>
                  <a:pt x="358617" y="308000"/>
                  <a:pt x="346808" y="310458"/>
                  <a:pt x="333974" y="310458"/>
                </a:cubicBezTo>
                <a:cubicBezTo>
                  <a:pt x="312677" y="310458"/>
                  <a:pt x="295679" y="304723"/>
                  <a:pt x="282982" y="293255"/>
                </a:cubicBezTo>
                <a:cubicBezTo>
                  <a:pt x="270286" y="281787"/>
                  <a:pt x="263937" y="266633"/>
                  <a:pt x="263937" y="247793"/>
                </a:cubicBezTo>
                <a:cubicBezTo>
                  <a:pt x="263937" y="223491"/>
                  <a:pt x="273357" y="204582"/>
                  <a:pt x="292198" y="191066"/>
                </a:cubicBezTo>
                <a:cubicBezTo>
                  <a:pt x="311038" y="177550"/>
                  <a:pt x="337661" y="170792"/>
                  <a:pt x="372065" y="170792"/>
                </a:cubicBezTo>
                <a:cubicBezTo>
                  <a:pt x="375069" y="170792"/>
                  <a:pt x="378072" y="170861"/>
                  <a:pt x="381076" y="170997"/>
                </a:cubicBezTo>
                <a:cubicBezTo>
                  <a:pt x="384079" y="171134"/>
                  <a:pt x="387083" y="171339"/>
                  <a:pt x="390086" y="171612"/>
                </a:cubicBezTo>
                <a:cubicBezTo>
                  <a:pt x="388721" y="159324"/>
                  <a:pt x="384284" y="150245"/>
                  <a:pt x="376775" y="144375"/>
                </a:cubicBezTo>
                <a:cubicBezTo>
                  <a:pt x="369266" y="138504"/>
                  <a:pt x="358276" y="135569"/>
                  <a:pt x="343804" y="135569"/>
                </a:cubicBezTo>
                <a:cubicBezTo>
                  <a:pt x="323872" y="135569"/>
                  <a:pt x="303666" y="140893"/>
                  <a:pt x="283187" y="151542"/>
                </a:cubicBezTo>
                <a:lnTo>
                  <a:pt x="283187" y="102803"/>
                </a:lnTo>
                <a:cubicBezTo>
                  <a:pt x="305031" y="91608"/>
                  <a:pt x="328650" y="86010"/>
                  <a:pt x="354044" y="86010"/>
                </a:cubicBezTo>
                <a:close/>
                <a:moveTo>
                  <a:pt x="125768" y="35633"/>
                </a:moveTo>
                <a:lnTo>
                  <a:pt x="188023" y="35633"/>
                </a:lnTo>
                <a:lnTo>
                  <a:pt x="188023" y="91335"/>
                </a:lnTo>
                <a:lnTo>
                  <a:pt x="233076" y="91335"/>
                </a:lnTo>
                <a:lnTo>
                  <a:pt x="233076" y="138846"/>
                </a:lnTo>
                <a:lnTo>
                  <a:pt x="188023" y="138846"/>
                </a:lnTo>
                <a:lnTo>
                  <a:pt x="188023" y="226085"/>
                </a:lnTo>
                <a:cubicBezTo>
                  <a:pt x="188023" y="237553"/>
                  <a:pt x="190344" y="246018"/>
                  <a:pt x="194986" y="251479"/>
                </a:cubicBezTo>
                <a:cubicBezTo>
                  <a:pt x="199628" y="256940"/>
                  <a:pt x="206863" y="259670"/>
                  <a:pt x="216693" y="259670"/>
                </a:cubicBezTo>
                <a:cubicBezTo>
                  <a:pt x="224339" y="259670"/>
                  <a:pt x="231438" y="258305"/>
                  <a:pt x="237991" y="255574"/>
                </a:cubicBezTo>
                <a:lnTo>
                  <a:pt x="237991" y="303495"/>
                </a:lnTo>
                <a:cubicBezTo>
                  <a:pt x="224885" y="307317"/>
                  <a:pt x="212871" y="309229"/>
                  <a:pt x="201948" y="309229"/>
                </a:cubicBezTo>
                <a:cubicBezTo>
                  <a:pt x="176828" y="309229"/>
                  <a:pt x="157851" y="302744"/>
                  <a:pt x="145018" y="289774"/>
                </a:cubicBezTo>
                <a:cubicBezTo>
                  <a:pt x="132184" y="276804"/>
                  <a:pt x="125768" y="257486"/>
                  <a:pt x="125768" y="231819"/>
                </a:cubicBezTo>
                <a:lnTo>
                  <a:pt x="125768" y="138846"/>
                </a:lnTo>
                <a:lnTo>
                  <a:pt x="93002" y="138846"/>
                </a:lnTo>
                <a:lnTo>
                  <a:pt x="93002" y="91335"/>
                </a:lnTo>
                <a:lnTo>
                  <a:pt x="125768" y="91335"/>
                </a:lnTo>
                <a:close/>
                <a:moveTo>
                  <a:pt x="0" y="28670"/>
                </a:moveTo>
                <a:lnTo>
                  <a:pt x="64303" y="28670"/>
                </a:lnTo>
                <a:lnTo>
                  <a:pt x="64303" y="305133"/>
                </a:lnTo>
                <a:lnTo>
                  <a:pt x="0" y="305133"/>
                </a:lnTo>
                <a:close/>
                <a:moveTo>
                  <a:pt x="840219" y="23345"/>
                </a:moveTo>
                <a:cubicBezTo>
                  <a:pt x="853052" y="23345"/>
                  <a:pt x="865612" y="25257"/>
                  <a:pt x="877900" y="29079"/>
                </a:cubicBezTo>
                <a:cubicBezTo>
                  <a:pt x="890187" y="32902"/>
                  <a:pt x="900563" y="38090"/>
                  <a:pt x="909027" y="44643"/>
                </a:cubicBezTo>
                <a:lnTo>
                  <a:pt x="909027" y="69627"/>
                </a:lnTo>
                <a:cubicBezTo>
                  <a:pt x="901382" y="62255"/>
                  <a:pt x="891347" y="56316"/>
                  <a:pt x="878924" y="51811"/>
                </a:cubicBezTo>
                <a:cubicBezTo>
                  <a:pt x="866500" y="47306"/>
                  <a:pt x="854008" y="45053"/>
                  <a:pt x="841448" y="45053"/>
                </a:cubicBezTo>
                <a:cubicBezTo>
                  <a:pt x="820696" y="45053"/>
                  <a:pt x="802811" y="50104"/>
                  <a:pt x="787793" y="60207"/>
                </a:cubicBezTo>
                <a:cubicBezTo>
                  <a:pt x="772775" y="70310"/>
                  <a:pt x="761307" y="84509"/>
                  <a:pt x="753389" y="102803"/>
                </a:cubicBezTo>
                <a:cubicBezTo>
                  <a:pt x="745470" y="121097"/>
                  <a:pt x="741511" y="142395"/>
                  <a:pt x="741511" y="166697"/>
                </a:cubicBezTo>
                <a:cubicBezTo>
                  <a:pt x="741511" y="191817"/>
                  <a:pt x="745743" y="213525"/>
                  <a:pt x="754208" y="231819"/>
                </a:cubicBezTo>
                <a:cubicBezTo>
                  <a:pt x="762673" y="250113"/>
                  <a:pt x="774414" y="264107"/>
                  <a:pt x="789431" y="273801"/>
                </a:cubicBezTo>
                <a:cubicBezTo>
                  <a:pt x="804449" y="283494"/>
                  <a:pt x="821788" y="288340"/>
                  <a:pt x="841448" y="288340"/>
                </a:cubicBezTo>
                <a:cubicBezTo>
                  <a:pt x="868479" y="288340"/>
                  <a:pt x="892644" y="279330"/>
                  <a:pt x="913942" y="261309"/>
                </a:cubicBezTo>
                <a:lnTo>
                  <a:pt x="913942" y="286293"/>
                </a:lnTo>
                <a:cubicBezTo>
                  <a:pt x="892917" y="302403"/>
                  <a:pt x="868070" y="310458"/>
                  <a:pt x="839400" y="310458"/>
                </a:cubicBezTo>
                <a:cubicBezTo>
                  <a:pt x="814279" y="310458"/>
                  <a:pt x="792435" y="304450"/>
                  <a:pt x="773868" y="292436"/>
                </a:cubicBezTo>
                <a:cubicBezTo>
                  <a:pt x="755300" y="280422"/>
                  <a:pt x="741102" y="263698"/>
                  <a:pt x="731272" y="242263"/>
                </a:cubicBezTo>
                <a:cubicBezTo>
                  <a:pt x="721442" y="220829"/>
                  <a:pt x="716527" y="196050"/>
                  <a:pt x="716527" y="167925"/>
                </a:cubicBezTo>
                <a:cubicBezTo>
                  <a:pt x="716527" y="138709"/>
                  <a:pt x="721852" y="113179"/>
                  <a:pt x="732501" y="91335"/>
                </a:cubicBezTo>
                <a:cubicBezTo>
                  <a:pt x="743150" y="69491"/>
                  <a:pt x="757758" y="52698"/>
                  <a:pt x="776325" y="40957"/>
                </a:cubicBezTo>
                <a:cubicBezTo>
                  <a:pt x="794892" y="29216"/>
                  <a:pt x="816190" y="23345"/>
                  <a:pt x="840219" y="23345"/>
                </a:cubicBezTo>
                <a:close/>
                <a:moveTo>
                  <a:pt x="1537620" y="0"/>
                </a:moveTo>
                <a:lnTo>
                  <a:pt x="1561376" y="0"/>
                </a:lnTo>
                <a:lnTo>
                  <a:pt x="1561376" y="131883"/>
                </a:lnTo>
                <a:cubicBezTo>
                  <a:pt x="1567929" y="119049"/>
                  <a:pt x="1577349" y="108878"/>
                  <a:pt x="1589636" y="101369"/>
                </a:cubicBezTo>
                <a:cubicBezTo>
                  <a:pt x="1601923" y="93861"/>
                  <a:pt x="1615439" y="90106"/>
                  <a:pt x="1630184" y="90106"/>
                </a:cubicBezTo>
                <a:cubicBezTo>
                  <a:pt x="1647386" y="90106"/>
                  <a:pt x="1662404" y="94816"/>
                  <a:pt x="1675237" y="104237"/>
                </a:cubicBezTo>
                <a:cubicBezTo>
                  <a:pt x="1688071" y="113657"/>
                  <a:pt x="1697901" y="126558"/>
                  <a:pt x="1704727" y="142941"/>
                </a:cubicBezTo>
                <a:cubicBezTo>
                  <a:pt x="1711553" y="159324"/>
                  <a:pt x="1714966" y="178028"/>
                  <a:pt x="1714966" y="199053"/>
                </a:cubicBezTo>
                <a:cubicBezTo>
                  <a:pt x="1714966" y="232911"/>
                  <a:pt x="1706979" y="259943"/>
                  <a:pt x="1691006" y="280149"/>
                </a:cubicBezTo>
                <a:cubicBezTo>
                  <a:pt x="1675033" y="300355"/>
                  <a:pt x="1653803" y="310458"/>
                  <a:pt x="1627317" y="310458"/>
                </a:cubicBezTo>
                <a:cubicBezTo>
                  <a:pt x="1612299" y="310458"/>
                  <a:pt x="1599056" y="306840"/>
                  <a:pt x="1587588" y="299604"/>
                </a:cubicBezTo>
                <a:cubicBezTo>
                  <a:pt x="1576120" y="292368"/>
                  <a:pt x="1566973" y="282060"/>
                  <a:pt x="1560147" y="268681"/>
                </a:cubicBezTo>
                <a:lnTo>
                  <a:pt x="1558508" y="305133"/>
                </a:lnTo>
                <a:lnTo>
                  <a:pt x="1537620" y="305133"/>
                </a:lnTo>
                <a:close/>
                <a:moveTo>
                  <a:pt x="599332" y="0"/>
                </a:moveTo>
                <a:lnTo>
                  <a:pt x="666092" y="0"/>
                </a:lnTo>
                <a:lnTo>
                  <a:pt x="608752" y="65122"/>
                </a:lnTo>
                <a:lnTo>
                  <a:pt x="554688" y="6512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10763250" y="407988"/>
            <a:ext cx="1092200" cy="111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5" name="Freeform 10"/>
          <p:cNvSpPr>
            <a:spLocks noEditPoints="1"/>
          </p:cNvSpPr>
          <p:nvPr/>
        </p:nvSpPr>
        <p:spPr bwMode="auto">
          <a:xfrm>
            <a:off x="10763250" y="409575"/>
            <a:ext cx="1092200" cy="1119188"/>
          </a:xfrm>
          <a:custGeom>
            <a:avLst/>
            <a:gdLst>
              <a:gd name="T0" fmla="*/ 772 w 1498"/>
              <a:gd name="T1" fmla="*/ 1101 h 1536"/>
              <a:gd name="T2" fmla="*/ 751 w 1498"/>
              <a:gd name="T3" fmla="*/ 1212 h 1536"/>
              <a:gd name="T4" fmla="*/ 826 w 1498"/>
              <a:gd name="T5" fmla="*/ 1162 h 1536"/>
              <a:gd name="T6" fmla="*/ 829 w 1498"/>
              <a:gd name="T7" fmla="*/ 1138 h 1536"/>
              <a:gd name="T8" fmla="*/ 806 w 1498"/>
              <a:gd name="T9" fmla="*/ 1098 h 1536"/>
              <a:gd name="T10" fmla="*/ 772 w 1498"/>
              <a:gd name="T11" fmla="*/ 1101 h 1536"/>
              <a:gd name="T12" fmla="*/ 751 w 1498"/>
              <a:gd name="T13" fmla="*/ 1212 h 1536"/>
              <a:gd name="T14" fmla="*/ 826 w 1498"/>
              <a:gd name="T15" fmla="*/ 1162 h 1536"/>
              <a:gd name="T16" fmla="*/ 829 w 1498"/>
              <a:gd name="T17" fmla="*/ 1138 h 1536"/>
              <a:gd name="T18" fmla="*/ 806 w 1498"/>
              <a:gd name="T19" fmla="*/ 1098 h 1536"/>
              <a:gd name="T20" fmla="*/ 250 w 1498"/>
              <a:gd name="T21" fmla="*/ 0 h 1536"/>
              <a:gd name="T22" fmla="*/ 0 w 1498"/>
              <a:gd name="T23" fmla="*/ 1280 h 1536"/>
              <a:gd name="T24" fmla="*/ 1248 w 1498"/>
              <a:gd name="T25" fmla="*/ 1536 h 1536"/>
              <a:gd name="T26" fmla="*/ 1498 w 1498"/>
              <a:gd name="T27" fmla="*/ 256 h 1536"/>
              <a:gd name="T28" fmla="*/ 241 w 1498"/>
              <a:gd name="T29" fmla="*/ 1280 h 1536"/>
              <a:gd name="T30" fmla="*/ 125 w 1498"/>
              <a:gd name="T31" fmla="*/ 768 h 1536"/>
              <a:gd name="T32" fmla="*/ 241 w 1498"/>
              <a:gd name="T33" fmla="*/ 1280 h 1536"/>
              <a:gd name="T34" fmla="*/ 1324 w 1498"/>
              <a:gd name="T35" fmla="*/ 768 h 1536"/>
              <a:gd name="T36" fmla="*/ 1144 w 1498"/>
              <a:gd name="T37" fmla="*/ 871 h 1536"/>
              <a:gd name="T38" fmla="*/ 537 w 1498"/>
              <a:gd name="T39" fmla="*/ 1278 h 1536"/>
              <a:gd name="T40" fmla="*/ 382 w 1498"/>
              <a:gd name="T41" fmla="*/ 1254 h 1536"/>
              <a:gd name="T42" fmla="*/ 351 w 1498"/>
              <a:gd name="T43" fmla="*/ 984 h 1536"/>
              <a:gd name="T44" fmla="*/ 297 w 1498"/>
              <a:gd name="T45" fmla="*/ 896 h 1536"/>
              <a:gd name="T46" fmla="*/ 351 w 1498"/>
              <a:gd name="T47" fmla="*/ 768 h 1536"/>
              <a:gd name="T48" fmla="*/ 464 w 1498"/>
              <a:gd name="T49" fmla="*/ 896 h 1536"/>
              <a:gd name="T50" fmla="*/ 536 w 1498"/>
              <a:gd name="T51" fmla="*/ 984 h 1536"/>
              <a:gd name="T52" fmla="*/ 464 w 1498"/>
              <a:gd name="T53" fmla="*/ 1120 h 1536"/>
              <a:gd name="T54" fmla="*/ 537 w 1498"/>
              <a:gd name="T55" fmla="*/ 1189 h 1536"/>
              <a:gd name="T56" fmla="*/ 936 w 1498"/>
              <a:gd name="T57" fmla="*/ 1280 h 1536"/>
              <a:gd name="T58" fmla="*/ 828 w 1498"/>
              <a:gd name="T59" fmla="*/ 1240 h 1536"/>
              <a:gd name="T60" fmla="*/ 710 w 1498"/>
              <a:gd name="T61" fmla="*/ 1289 h 1536"/>
              <a:gd name="T62" fmla="*/ 826 w 1498"/>
              <a:gd name="T63" fmla="*/ 1023 h 1536"/>
              <a:gd name="T64" fmla="*/ 744 w 1498"/>
              <a:gd name="T65" fmla="*/ 966 h 1536"/>
              <a:gd name="T66" fmla="*/ 609 w 1498"/>
              <a:gd name="T67" fmla="*/ 921 h 1536"/>
              <a:gd name="T68" fmla="*/ 936 w 1498"/>
              <a:gd name="T69" fmla="*/ 1053 h 1536"/>
              <a:gd name="T70" fmla="*/ 1373 w 1498"/>
              <a:gd name="T71" fmla="*/ 1280 h 1536"/>
              <a:gd name="T72" fmla="*/ 1266 w 1498"/>
              <a:gd name="T73" fmla="*/ 1225 h 1536"/>
              <a:gd name="T74" fmla="*/ 1225 w 1498"/>
              <a:gd name="T75" fmla="*/ 1266 h 1536"/>
              <a:gd name="T76" fmla="*/ 1141 w 1498"/>
              <a:gd name="T77" fmla="*/ 1289 h 1536"/>
              <a:gd name="T78" fmla="*/ 1041 w 1498"/>
              <a:gd name="T79" fmla="*/ 1249 h 1536"/>
              <a:gd name="T80" fmla="*/ 1001 w 1498"/>
              <a:gd name="T81" fmla="*/ 1120 h 1536"/>
              <a:gd name="T82" fmla="*/ 1115 w 1498"/>
              <a:gd name="T83" fmla="*/ 896 h 1536"/>
              <a:gd name="T84" fmla="*/ 1183 w 1498"/>
              <a:gd name="T85" fmla="*/ 1195 h 1536"/>
              <a:gd name="T86" fmla="*/ 1257 w 1498"/>
              <a:gd name="T87" fmla="*/ 1121 h 1536"/>
              <a:gd name="T88" fmla="*/ 1373 w 1498"/>
              <a:gd name="T89" fmla="*/ 896 h 1536"/>
              <a:gd name="T90" fmla="*/ 806 w 1498"/>
              <a:gd name="T91" fmla="*/ 1098 h 1536"/>
              <a:gd name="T92" fmla="*/ 697 w 1498"/>
              <a:gd name="T93" fmla="*/ 1163 h 1536"/>
              <a:gd name="T94" fmla="*/ 826 w 1498"/>
              <a:gd name="T95" fmla="*/ 1164 h 1536"/>
              <a:gd name="T96" fmla="*/ 827 w 1498"/>
              <a:gd name="T97" fmla="*/ 1158 h 1536"/>
              <a:gd name="T98" fmla="*/ 829 w 1498"/>
              <a:gd name="T99" fmla="*/ 1098 h 1536"/>
              <a:gd name="T100" fmla="*/ 806 w 1498"/>
              <a:gd name="T101" fmla="*/ 1098 h 1536"/>
              <a:gd name="T102" fmla="*/ 697 w 1498"/>
              <a:gd name="T103" fmla="*/ 1163 h 1536"/>
              <a:gd name="T104" fmla="*/ 826 w 1498"/>
              <a:gd name="T105" fmla="*/ 1164 h 1536"/>
              <a:gd name="T106" fmla="*/ 827 w 1498"/>
              <a:gd name="T107" fmla="*/ 1158 h 1536"/>
              <a:gd name="T108" fmla="*/ 829 w 1498"/>
              <a:gd name="T109" fmla="*/ 1098 h 1536"/>
              <a:gd name="T110" fmla="*/ 806 w 1498"/>
              <a:gd name="T111" fmla="*/ 1098 h 1536"/>
              <a:gd name="T112" fmla="*/ 697 w 1498"/>
              <a:gd name="T113" fmla="*/ 1163 h 1536"/>
              <a:gd name="T114" fmla="*/ 826 w 1498"/>
              <a:gd name="T115" fmla="*/ 1164 h 1536"/>
              <a:gd name="T116" fmla="*/ 827 w 1498"/>
              <a:gd name="T117" fmla="*/ 1158 h 1536"/>
              <a:gd name="T118" fmla="*/ 829 w 1498"/>
              <a:gd name="T119" fmla="*/ 1098 h 1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98" h="1536"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1248" y="0"/>
                </a:moveTo>
                <a:cubicBezTo>
                  <a:pt x="250" y="0"/>
                  <a:pt x="250" y="0"/>
                  <a:pt x="250" y="0"/>
                </a:cubicBezTo>
                <a:cubicBezTo>
                  <a:pt x="112" y="0"/>
                  <a:pt x="0" y="115"/>
                  <a:pt x="0" y="256"/>
                </a:cubicBezTo>
                <a:cubicBezTo>
                  <a:pt x="0" y="1280"/>
                  <a:pt x="0" y="1280"/>
                  <a:pt x="0" y="1280"/>
                </a:cubicBezTo>
                <a:cubicBezTo>
                  <a:pt x="0" y="1421"/>
                  <a:pt x="112" y="1536"/>
                  <a:pt x="250" y="1536"/>
                </a:cubicBezTo>
                <a:cubicBezTo>
                  <a:pt x="1248" y="1536"/>
                  <a:pt x="1248" y="1536"/>
                  <a:pt x="1248" y="1536"/>
                </a:cubicBezTo>
                <a:cubicBezTo>
                  <a:pt x="1386" y="1536"/>
                  <a:pt x="1498" y="1421"/>
                  <a:pt x="1498" y="1280"/>
                </a:cubicBezTo>
                <a:cubicBezTo>
                  <a:pt x="1498" y="256"/>
                  <a:pt x="1498" y="256"/>
                  <a:pt x="1498" y="256"/>
                </a:cubicBezTo>
                <a:cubicBezTo>
                  <a:pt x="1498" y="115"/>
                  <a:pt x="1386" y="0"/>
                  <a:pt x="1248" y="0"/>
                </a:cubicBezTo>
                <a:close/>
                <a:moveTo>
                  <a:pt x="241" y="1280"/>
                </a:moveTo>
                <a:cubicBezTo>
                  <a:pt x="125" y="1280"/>
                  <a:pt x="125" y="1280"/>
                  <a:pt x="125" y="1280"/>
                </a:cubicBezTo>
                <a:cubicBezTo>
                  <a:pt x="125" y="768"/>
                  <a:pt x="125" y="768"/>
                  <a:pt x="125" y="768"/>
                </a:cubicBezTo>
                <a:cubicBezTo>
                  <a:pt x="241" y="768"/>
                  <a:pt x="241" y="768"/>
                  <a:pt x="241" y="768"/>
                </a:cubicBezTo>
                <a:lnTo>
                  <a:pt x="241" y="1280"/>
                </a:lnTo>
                <a:close/>
                <a:moveTo>
                  <a:pt x="1214" y="768"/>
                </a:moveTo>
                <a:cubicBezTo>
                  <a:pt x="1324" y="768"/>
                  <a:pt x="1324" y="768"/>
                  <a:pt x="1324" y="768"/>
                </a:cubicBezTo>
                <a:cubicBezTo>
                  <a:pt x="1226" y="871"/>
                  <a:pt x="1226" y="871"/>
                  <a:pt x="1226" y="871"/>
                </a:cubicBezTo>
                <a:cubicBezTo>
                  <a:pt x="1144" y="871"/>
                  <a:pt x="1144" y="871"/>
                  <a:pt x="1144" y="871"/>
                </a:cubicBezTo>
                <a:lnTo>
                  <a:pt x="1214" y="768"/>
                </a:lnTo>
                <a:close/>
                <a:moveTo>
                  <a:pt x="537" y="1278"/>
                </a:moveTo>
                <a:cubicBezTo>
                  <a:pt x="522" y="1284"/>
                  <a:pt x="508" y="1289"/>
                  <a:pt x="474" y="1289"/>
                </a:cubicBezTo>
                <a:cubicBezTo>
                  <a:pt x="434" y="1289"/>
                  <a:pt x="401" y="1274"/>
                  <a:pt x="382" y="1254"/>
                </a:cubicBezTo>
                <a:cubicBezTo>
                  <a:pt x="361" y="1230"/>
                  <a:pt x="351" y="1191"/>
                  <a:pt x="351" y="1140"/>
                </a:cubicBezTo>
                <a:cubicBezTo>
                  <a:pt x="351" y="984"/>
                  <a:pt x="351" y="984"/>
                  <a:pt x="351" y="984"/>
                </a:cubicBezTo>
                <a:cubicBezTo>
                  <a:pt x="297" y="984"/>
                  <a:pt x="297" y="984"/>
                  <a:pt x="297" y="984"/>
                </a:cubicBezTo>
                <a:cubicBezTo>
                  <a:pt x="297" y="896"/>
                  <a:pt x="297" y="896"/>
                  <a:pt x="297" y="896"/>
                </a:cubicBezTo>
                <a:cubicBezTo>
                  <a:pt x="351" y="896"/>
                  <a:pt x="351" y="896"/>
                  <a:pt x="351" y="896"/>
                </a:cubicBezTo>
                <a:cubicBezTo>
                  <a:pt x="351" y="768"/>
                  <a:pt x="351" y="768"/>
                  <a:pt x="351" y="768"/>
                </a:cubicBezTo>
                <a:cubicBezTo>
                  <a:pt x="464" y="768"/>
                  <a:pt x="464" y="768"/>
                  <a:pt x="464" y="768"/>
                </a:cubicBezTo>
                <a:cubicBezTo>
                  <a:pt x="464" y="896"/>
                  <a:pt x="464" y="896"/>
                  <a:pt x="464" y="896"/>
                </a:cubicBezTo>
                <a:cubicBezTo>
                  <a:pt x="536" y="896"/>
                  <a:pt x="536" y="896"/>
                  <a:pt x="536" y="896"/>
                </a:cubicBezTo>
                <a:cubicBezTo>
                  <a:pt x="536" y="984"/>
                  <a:pt x="536" y="984"/>
                  <a:pt x="536" y="984"/>
                </a:cubicBezTo>
                <a:cubicBezTo>
                  <a:pt x="464" y="984"/>
                  <a:pt x="464" y="984"/>
                  <a:pt x="464" y="984"/>
                </a:cubicBezTo>
                <a:cubicBezTo>
                  <a:pt x="464" y="1120"/>
                  <a:pt x="464" y="1120"/>
                  <a:pt x="464" y="1120"/>
                </a:cubicBezTo>
                <a:cubicBezTo>
                  <a:pt x="464" y="1167"/>
                  <a:pt x="473" y="1192"/>
                  <a:pt x="513" y="1192"/>
                </a:cubicBezTo>
                <a:cubicBezTo>
                  <a:pt x="525" y="1192"/>
                  <a:pt x="534" y="1190"/>
                  <a:pt x="537" y="1189"/>
                </a:cubicBezTo>
                <a:lnTo>
                  <a:pt x="537" y="1278"/>
                </a:lnTo>
                <a:close/>
                <a:moveTo>
                  <a:pt x="936" y="1280"/>
                </a:moveTo>
                <a:cubicBezTo>
                  <a:pt x="841" y="1280"/>
                  <a:pt x="841" y="1280"/>
                  <a:pt x="841" y="1280"/>
                </a:cubicBezTo>
                <a:cubicBezTo>
                  <a:pt x="828" y="1240"/>
                  <a:pt x="828" y="1240"/>
                  <a:pt x="828" y="1240"/>
                </a:cubicBezTo>
                <a:cubicBezTo>
                  <a:pt x="827" y="1240"/>
                  <a:pt x="827" y="1240"/>
                  <a:pt x="827" y="1240"/>
                </a:cubicBezTo>
                <a:cubicBezTo>
                  <a:pt x="802" y="1271"/>
                  <a:pt x="760" y="1289"/>
                  <a:pt x="710" y="1289"/>
                </a:cubicBezTo>
                <a:cubicBezTo>
                  <a:pt x="627" y="1289"/>
                  <a:pt x="582" y="1230"/>
                  <a:pt x="582" y="1172"/>
                </a:cubicBezTo>
                <a:cubicBezTo>
                  <a:pt x="582" y="1073"/>
                  <a:pt x="675" y="1023"/>
                  <a:pt x="826" y="1023"/>
                </a:cubicBezTo>
                <a:cubicBezTo>
                  <a:pt x="826" y="1019"/>
                  <a:pt x="826" y="1019"/>
                  <a:pt x="826" y="1019"/>
                </a:cubicBezTo>
                <a:cubicBezTo>
                  <a:pt x="826" y="1001"/>
                  <a:pt x="812" y="966"/>
                  <a:pt x="744" y="966"/>
                </a:cubicBezTo>
                <a:cubicBezTo>
                  <a:pt x="703" y="966"/>
                  <a:pt x="658" y="980"/>
                  <a:pt x="631" y="997"/>
                </a:cubicBezTo>
                <a:cubicBezTo>
                  <a:pt x="609" y="921"/>
                  <a:pt x="609" y="921"/>
                  <a:pt x="609" y="921"/>
                </a:cubicBezTo>
                <a:cubicBezTo>
                  <a:pt x="638" y="904"/>
                  <a:pt x="692" y="885"/>
                  <a:pt x="763" y="885"/>
                </a:cubicBezTo>
                <a:cubicBezTo>
                  <a:pt x="892" y="885"/>
                  <a:pt x="936" y="961"/>
                  <a:pt x="936" y="1053"/>
                </a:cubicBezTo>
                <a:lnTo>
                  <a:pt x="936" y="1280"/>
                </a:lnTo>
                <a:close/>
                <a:moveTo>
                  <a:pt x="1373" y="1280"/>
                </a:moveTo>
                <a:cubicBezTo>
                  <a:pt x="1281" y="1280"/>
                  <a:pt x="1281" y="1280"/>
                  <a:pt x="1281" y="1280"/>
                </a:cubicBezTo>
                <a:cubicBezTo>
                  <a:pt x="1266" y="1225"/>
                  <a:pt x="1266" y="1225"/>
                  <a:pt x="1266" y="1225"/>
                </a:cubicBezTo>
                <a:cubicBezTo>
                  <a:pt x="1262" y="1231"/>
                  <a:pt x="1257" y="1238"/>
                  <a:pt x="1250" y="1245"/>
                </a:cubicBezTo>
                <a:cubicBezTo>
                  <a:pt x="1243" y="1253"/>
                  <a:pt x="1235" y="1260"/>
                  <a:pt x="1225" y="1266"/>
                </a:cubicBezTo>
                <a:cubicBezTo>
                  <a:pt x="1215" y="1272"/>
                  <a:pt x="1203" y="1278"/>
                  <a:pt x="1189" y="1282"/>
                </a:cubicBezTo>
                <a:cubicBezTo>
                  <a:pt x="1175" y="1286"/>
                  <a:pt x="1159" y="1289"/>
                  <a:pt x="1141" y="1289"/>
                </a:cubicBezTo>
                <a:cubicBezTo>
                  <a:pt x="1121" y="1289"/>
                  <a:pt x="1102" y="1286"/>
                  <a:pt x="1085" y="1279"/>
                </a:cubicBezTo>
                <a:cubicBezTo>
                  <a:pt x="1068" y="1273"/>
                  <a:pt x="1053" y="1263"/>
                  <a:pt x="1041" y="1249"/>
                </a:cubicBezTo>
                <a:cubicBezTo>
                  <a:pt x="1029" y="1236"/>
                  <a:pt x="1019" y="1218"/>
                  <a:pt x="1012" y="1197"/>
                </a:cubicBezTo>
                <a:cubicBezTo>
                  <a:pt x="1005" y="1176"/>
                  <a:pt x="1001" y="1150"/>
                  <a:pt x="1001" y="1120"/>
                </a:cubicBezTo>
                <a:cubicBezTo>
                  <a:pt x="1001" y="896"/>
                  <a:pt x="1001" y="896"/>
                  <a:pt x="1001" y="896"/>
                </a:cubicBezTo>
                <a:cubicBezTo>
                  <a:pt x="1115" y="896"/>
                  <a:pt x="1115" y="896"/>
                  <a:pt x="1115" y="896"/>
                </a:cubicBezTo>
                <a:cubicBezTo>
                  <a:pt x="1115" y="1099"/>
                  <a:pt x="1115" y="1099"/>
                  <a:pt x="1115" y="1099"/>
                </a:cubicBezTo>
                <a:cubicBezTo>
                  <a:pt x="1115" y="1159"/>
                  <a:pt x="1136" y="1195"/>
                  <a:pt x="1183" y="1195"/>
                </a:cubicBezTo>
                <a:cubicBezTo>
                  <a:pt x="1221" y="1195"/>
                  <a:pt x="1244" y="1169"/>
                  <a:pt x="1254" y="1146"/>
                </a:cubicBezTo>
                <a:cubicBezTo>
                  <a:pt x="1256" y="1138"/>
                  <a:pt x="1257" y="1130"/>
                  <a:pt x="1257" y="1121"/>
                </a:cubicBezTo>
                <a:cubicBezTo>
                  <a:pt x="1257" y="896"/>
                  <a:pt x="1257" y="896"/>
                  <a:pt x="1257" y="896"/>
                </a:cubicBezTo>
                <a:cubicBezTo>
                  <a:pt x="1373" y="896"/>
                  <a:pt x="1373" y="896"/>
                  <a:pt x="1373" y="896"/>
                </a:cubicBezTo>
                <a:lnTo>
                  <a:pt x="1373" y="1280"/>
                </a:ln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  <a:moveTo>
                  <a:pt x="806" y="1098"/>
                </a:moveTo>
                <a:cubicBezTo>
                  <a:pt x="794" y="1098"/>
                  <a:pt x="782" y="1099"/>
                  <a:pt x="772" y="1101"/>
                </a:cubicBezTo>
                <a:cubicBezTo>
                  <a:pt x="727" y="1108"/>
                  <a:pt x="697" y="1127"/>
                  <a:pt x="697" y="1163"/>
                </a:cubicBezTo>
                <a:cubicBezTo>
                  <a:pt x="697" y="1195"/>
                  <a:pt x="719" y="1212"/>
                  <a:pt x="751" y="1212"/>
                </a:cubicBezTo>
                <a:cubicBezTo>
                  <a:pt x="788" y="1212"/>
                  <a:pt x="815" y="1189"/>
                  <a:pt x="826" y="1164"/>
                </a:cubicBezTo>
                <a:cubicBezTo>
                  <a:pt x="826" y="1163"/>
                  <a:pt x="826" y="1162"/>
                  <a:pt x="826" y="1162"/>
                </a:cubicBezTo>
                <a:cubicBezTo>
                  <a:pt x="827" y="1161"/>
                  <a:pt x="827" y="1158"/>
                  <a:pt x="827" y="1158"/>
                </a:cubicBezTo>
                <a:cubicBezTo>
                  <a:pt x="829" y="1151"/>
                  <a:pt x="829" y="1144"/>
                  <a:pt x="829" y="1138"/>
                </a:cubicBezTo>
                <a:cubicBezTo>
                  <a:pt x="829" y="1098"/>
                  <a:pt x="829" y="1098"/>
                  <a:pt x="829" y="1098"/>
                </a:cubicBezTo>
                <a:cubicBezTo>
                  <a:pt x="821" y="1098"/>
                  <a:pt x="814" y="1098"/>
                  <a:pt x="806" y="109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L" altLang="pt-BR" sz="1001" b="0" kern="1200" noProof="0" dirty="0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Información</a:t>
            </a:r>
            <a:r>
              <a:rPr lang="es-CL" altLang="pt-BR" sz="1001" b="0" kern="1200" baseline="0" noProof="0" dirty="0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 Restringida</a:t>
            </a:r>
            <a:endParaRPr lang="es-CL" altLang="pt-BR" sz="1001" b="0" kern="1200" noProof="0" dirty="0">
              <a:solidFill>
                <a:schemeClr val="tx2"/>
              </a:solidFill>
              <a:latin typeface="+mj-lt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304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56520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6203950" y="1268413"/>
            <a:ext cx="56520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accent6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1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582806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5"/>
          <p:cNvSpPr txBox="1"/>
          <p:nvPr/>
        </p:nvSpPr>
        <p:spPr>
          <a:xfrm>
            <a:off x="28576" y="6775366"/>
            <a:ext cx="764382" cy="69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algn="l">
              <a:defRPr sz="9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450"/>
              <a:t>Corporativo | Interno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1826683" y="0"/>
            <a:ext cx="9753601" cy="1836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5" tIns="71435" rIns="71435" bIns="71435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Body Level One…"/>
          <p:cNvSpPr txBox="1">
            <a:spLocks noGrp="1"/>
          </p:cNvSpPr>
          <p:nvPr>
            <p:ph type="body" idx="1"/>
          </p:nvPr>
        </p:nvSpPr>
        <p:spPr>
          <a:xfrm>
            <a:off x="6805083" y="2438400"/>
            <a:ext cx="47752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5" tIns="71435" rIns="71435" bIns="71435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21034" y="6356350"/>
            <a:ext cx="391128" cy="313542"/>
          </a:xfrm>
          <a:prstGeom prst="rect">
            <a:avLst/>
          </a:prstGeom>
          <a:ln w="12700">
            <a:miter lim="400000"/>
          </a:ln>
        </p:spPr>
        <p:txBody>
          <a:bodyPr wrap="none" lIns="71435" tIns="71435" rIns="71435" bIns="71435">
            <a:spAutoFit/>
          </a:bodyPr>
          <a:lstStyle>
            <a:lvl1pPr defTabSz="410765">
              <a:defRPr sz="1100"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8121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 spd="med"/>
  <p:txStyles>
    <p:titleStyle>
      <a:lvl1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1pPr>
      <a:lvl2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2pPr>
      <a:lvl3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3pPr>
      <a:lvl4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4pPr>
      <a:lvl5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5pPr>
      <a:lvl6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6pPr>
      <a:lvl7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7pPr>
      <a:lvl8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8pPr>
      <a:lvl9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1" i="0" u="none" strike="noStrike" cap="none" spc="0" baseline="0">
          <a:solidFill>
            <a:srgbClr val="000000"/>
          </a:solidFill>
          <a:uFillTx/>
          <a:latin typeface="Itau Display Pro XBold"/>
          <a:ea typeface="Itau Display Pro XBold"/>
          <a:cs typeface="Itau Display Pro XBold"/>
          <a:sym typeface="Itau Display Pro XBold"/>
        </a:defRPr>
      </a:lvl9pPr>
    </p:titleStyle>
    <p:bodyStyle>
      <a:lvl1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1pPr>
      <a:lvl2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2pPr>
      <a:lvl3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3pPr>
      <a:lvl4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4pPr>
      <a:lvl5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5pPr>
      <a:lvl6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6pPr>
      <a:lvl7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7pPr>
      <a:lvl8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8pPr>
      <a:lvl9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rgbClr val="000000"/>
          </a:solidFill>
          <a:uFillTx/>
          <a:latin typeface="Itau Display Pro Regular"/>
          <a:ea typeface="Itau Display Pro Regular"/>
          <a:cs typeface="Itau Display Pro Regular"/>
          <a:sym typeface="Itau Display Pro Regular"/>
        </a:defRPr>
      </a:lvl9pPr>
    </p:bodyStyle>
    <p:otherStyle>
      <a:lvl1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1pPr>
      <a:lvl2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2pPr>
      <a:lvl3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3pPr>
      <a:lvl4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4pPr>
      <a:lvl5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5pPr>
      <a:lvl6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6pPr>
      <a:lvl7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7pPr>
      <a:lvl8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8pPr>
      <a:lvl9pPr marL="0" marR="0" indent="0" algn="ctr" defTabSz="41076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Thin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36000" y="1019165"/>
            <a:ext cx="11520000" cy="50736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8219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13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L" altLang="pt-BR" sz="1001" b="0" kern="120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Información</a:t>
            </a:r>
            <a:r>
              <a:rPr lang="es-CL" altLang="pt-BR" sz="1001" b="0" kern="1200" baseline="0" noProof="0" dirty="0">
                <a:solidFill>
                  <a:schemeClr val="accent6"/>
                </a:solidFill>
                <a:latin typeface="+mj-lt"/>
                <a:ea typeface="ＭＳ Ｐゴシック" panose="020B0600070205080204" pitchFamily="34" charset="-128"/>
                <a:cs typeface="+mn-cs"/>
              </a:rPr>
              <a:t> Restringida</a:t>
            </a:r>
            <a:endParaRPr lang="es-CL" altLang="pt-BR" sz="1001" b="0" kern="1200" noProof="0" dirty="0">
              <a:solidFill>
                <a:schemeClr val="accent6"/>
              </a:solidFill>
              <a:latin typeface="+mj-lt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0455297" y="6375116"/>
            <a:ext cx="954089" cy="230832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fld id="{9B9BAEC2-C893-4510-BAEC-A634F6DBFF95}" type="slidenum">
              <a:rPr lang="en-US" altLang="pt-BR" sz="1000" b="0" smtClean="0">
                <a:latin typeface="+mj-lt"/>
              </a:rPr>
              <a:pPr lvl="0"/>
              <a:t>‹Nº›</a:t>
            </a:fld>
            <a:endParaRPr lang="en-US" altLang="pt-BR" sz="1000" b="0" dirty="0">
              <a:latin typeface="+mj-lt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1506200" y="6305731"/>
            <a:ext cx="381000" cy="390295"/>
          </a:xfrm>
          <a:prstGeom prst="rect">
            <a:avLst/>
          </a:prstGeom>
        </p:spPr>
      </p:pic>
      <p:sp>
        <p:nvSpPr>
          <p:cNvPr id="7" name="CaixaDeTexto 6"/>
          <p:cNvSpPr txBox="1"/>
          <p:nvPr userDrawn="1"/>
        </p:nvSpPr>
        <p:spPr>
          <a:xfrm>
            <a:off x="10455297" y="6375116"/>
            <a:ext cx="954089" cy="230832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fld id="{9B9BAEC2-C893-4510-BAEC-A634F6DBFF95}" type="slidenum">
              <a:rPr lang="en-US" altLang="pt-BR" sz="1000" b="0" smtClean="0"/>
              <a:pPr lvl="0"/>
              <a:t>‹Nº›</a:t>
            </a:fld>
            <a:endParaRPr lang="en-US" altLang="pt-BR" sz="1000" b="0" dirty="0"/>
          </a:p>
        </p:txBody>
      </p:sp>
    </p:spTree>
    <p:extLst>
      <p:ext uri="{BB962C8B-B14F-4D97-AF65-F5344CB8AC3E}">
        <p14:creationId xmlns:p14="http://schemas.microsoft.com/office/powerpoint/2010/main" val="2959724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lang="pt-BR" sz="2800" b="1" kern="1200" dirty="0">
          <a:solidFill>
            <a:schemeClr val="accent5"/>
          </a:solidFill>
          <a:latin typeface="+mn-lt"/>
          <a:ea typeface="+mn-ea"/>
          <a:cs typeface="+mn-cs"/>
        </a:defRPr>
      </a:lvl1pPr>
    </p:titleStyle>
    <p:bodyStyle>
      <a:lvl1pPr marL="0" indent="0" algn="l" defTabSz="914411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16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539756" indent="-182566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1" kern="1200">
          <a:solidFill>
            <a:schemeClr val="accent6"/>
          </a:solidFill>
          <a:latin typeface="+mn-lt"/>
          <a:ea typeface="+mn-ea"/>
          <a:cs typeface="+mn-cs"/>
        </a:defRPr>
      </a:lvl2pPr>
      <a:lvl3pPr marL="898536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255729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612920" indent="-174628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2">
          <p15:clr>
            <a:srgbClr val="F26B43"/>
          </p15:clr>
        </p15:guide>
        <p15:guide id="3" pos="7468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83.emf"/><Relationship Id="rId21" Type="http://schemas.openxmlformats.org/officeDocument/2006/relationships/image" Target="../media/image87.emf"/><Relationship Id="rId42" Type="http://schemas.openxmlformats.org/officeDocument/2006/relationships/image" Target="../media/image108.emf"/><Relationship Id="rId63" Type="http://schemas.openxmlformats.org/officeDocument/2006/relationships/image" Target="../media/image129.emf"/><Relationship Id="rId84" Type="http://schemas.openxmlformats.org/officeDocument/2006/relationships/image" Target="../media/image150.emf"/><Relationship Id="rId138" Type="http://schemas.openxmlformats.org/officeDocument/2006/relationships/image" Target="../media/image204.emf"/><Relationship Id="rId159" Type="http://schemas.openxmlformats.org/officeDocument/2006/relationships/image" Target="../media/image225.emf"/><Relationship Id="rId170" Type="http://schemas.openxmlformats.org/officeDocument/2006/relationships/image" Target="../media/image236.emf"/><Relationship Id="rId107" Type="http://schemas.openxmlformats.org/officeDocument/2006/relationships/image" Target="../media/image173.emf"/><Relationship Id="rId11" Type="http://schemas.openxmlformats.org/officeDocument/2006/relationships/image" Target="../media/image77.emf"/><Relationship Id="rId32" Type="http://schemas.openxmlformats.org/officeDocument/2006/relationships/image" Target="../media/image98.emf"/><Relationship Id="rId53" Type="http://schemas.openxmlformats.org/officeDocument/2006/relationships/image" Target="../media/image119.emf"/><Relationship Id="rId74" Type="http://schemas.openxmlformats.org/officeDocument/2006/relationships/image" Target="../media/image140.emf"/><Relationship Id="rId128" Type="http://schemas.openxmlformats.org/officeDocument/2006/relationships/image" Target="../media/image194.emf"/><Relationship Id="rId149" Type="http://schemas.openxmlformats.org/officeDocument/2006/relationships/image" Target="../media/image215.emf"/><Relationship Id="rId5" Type="http://schemas.openxmlformats.org/officeDocument/2006/relationships/image" Target="../media/image71.emf"/><Relationship Id="rId95" Type="http://schemas.openxmlformats.org/officeDocument/2006/relationships/image" Target="../media/image161.emf"/><Relationship Id="rId160" Type="http://schemas.openxmlformats.org/officeDocument/2006/relationships/image" Target="../media/image226.emf"/><Relationship Id="rId22" Type="http://schemas.openxmlformats.org/officeDocument/2006/relationships/image" Target="../media/image88.emf"/><Relationship Id="rId43" Type="http://schemas.openxmlformats.org/officeDocument/2006/relationships/image" Target="../media/image109.emf"/><Relationship Id="rId64" Type="http://schemas.openxmlformats.org/officeDocument/2006/relationships/image" Target="../media/image130.emf"/><Relationship Id="rId118" Type="http://schemas.openxmlformats.org/officeDocument/2006/relationships/image" Target="../media/image184.emf"/><Relationship Id="rId139" Type="http://schemas.openxmlformats.org/officeDocument/2006/relationships/image" Target="../media/image205.emf"/><Relationship Id="rId85" Type="http://schemas.openxmlformats.org/officeDocument/2006/relationships/image" Target="../media/image151.emf"/><Relationship Id="rId150" Type="http://schemas.openxmlformats.org/officeDocument/2006/relationships/image" Target="../media/image216.emf"/><Relationship Id="rId171" Type="http://schemas.openxmlformats.org/officeDocument/2006/relationships/image" Target="../media/image237.emf"/><Relationship Id="rId12" Type="http://schemas.openxmlformats.org/officeDocument/2006/relationships/image" Target="../media/image78.emf"/><Relationship Id="rId33" Type="http://schemas.openxmlformats.org/officeDocument/2006/relationships/image" Target="../media/image99.emf"/><Relationship Id="rId108" Type="http://schemas.openxmlformats.org/officeDocument/2006/relationships/image" Target="../media/image174.emf"/><Relationship Id="rId129" Type="http://schemas.openxmlformats.org/officeDocument/2006/relationships/image" Target="../media/image195.emf"/><Relationship Id="rId54" Type="http://schemas.openxmlformats.org/officeDocument/2006/relationships/image" Target="../media/image120.emf"/><Relationship Id="rId75" Type="http://schemas.openxmlformats.org/officeDocument/2006/relationships/image" Target="../media/image141.emf"/><Relationship Id="rId96" Type="http://schemas.openxmlformats.org/officeDocument/2006/relationships/image" Target="../media/image162.emf"/><Relationship Id="rId140" Type="http://schemas.openxmlformats.org/officeDocument/2006/relationships/image" Target="../media/image206.emf"/><Relationship Id="rId161" Type="http://schemas.openxmlformats.org/officeDocument/2006/relationships/image" Target="../media/image227.emf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2.emf"/><Relationship Id="rId23" Type="http://schemas.openxmlformats.org/officeDocument/2006/relationships/image" Target="../media/image89.emf"/><Relationship Id="rId28" Type="http://schemas.openxmlformats.org/officeDocument/2006/relationships/image" Target="../media/image94.emf"/><Relationship Id="rId49" Type="http://schemas.openxmlformats.org/officeDocument/2006/relationships/image" Target="../media/image115.emf"/><Relationship Id="rId114" Type="http://schemas.openxmlformats.org/officeDocument/2006/relationships/image" Target="../media/image180.emf"/><Relationship Id="rId119" Type="http://schemas.openxmlformats.org/officeDocument/2006/relationships/image" Target="../media/image185.emf"/><Relationship Id="rId44" Type="http://schemas.openxmlformats.org/officeDocument/2006/relationships/image" Target="../media/image110.emf"/><Relationship Id="rId60" Type="http://schemas.openxmlformats.org/officeDocument/2006/relationships/image" Target="../media/image126.emf"/><Relationship Id="rId65" Type="http://schemas.openxmlformats.org/officeDocument/2006/relationships/image" Target="../media/image131.emf"/><Relationship Id="rId81" Type="http://schemas.openxmlformats.org/officeDocument/2006/relationships/image" Target="../media/image147.emf"/><Relationship Id="rId86" Type="http://schemas.openxmlformats.org/officeDocument/2006/relationships/image" Target="../media/image152.emf"/><Relationship Id="rId130" Type="http://schemas.openxmlformats.org/officeDocument/2006/relationships/image" Target="../media/image196.emf"/><Relationship Id="rId135" Type="http://schemas.openxmlformats.org/officeDocument/2006/relationships/image" Target="../media/image201.emf"/><Relationship Id="rId151" Type="http://schemas.openxmlformats.org/officeDocument/2006/relationships/image" Target="../media/image217.emf"/><Relationship Id="rId156" Type="http://schemas.openxmlformats.org/officeDocument/2006/relationships/image" Target="../media/image222.emf"/><Relationship Id="rId172" Type="http://schemas.openxmlformats.org/officeDocument/2006/relationships/image" Target="../media/image238.emf"/><Relationship Id="rId13" Type="http://schemas.openxmlformats.org/officeDocument/2006/relationships/image" Target="../media/image79.emf"/><Relationship Id="rId18" Type="http://schemas.openxmlformats.org/officeDocument/2006/relationships/image" Target="../media/image84.emf"/><Relationship Id="rId39" Type="http://schemas.openxmlformats.org/officeDocument/2006/relationships/image" Target="../media/image105.emf"/><Relationship Id="rId109" Type="http://schemas.openxmlformats.org/officeDocument/2006/relationships/image" Target="../media/image175.emf"/><Relationship Id="rId34" Type="http://schemas.openxmlformats.org/officeDocument/2006/relationships/image" Target="../media/image100.emf"/><Relationship Id="rId50" Type="http://schemas.openxmlformats.org/officeDocument/2006/relationships/image" Target="../media/image116.emf"/><Relationship Id="rId55" Type="http://schemas.openxmlformats.org/officeDocument/2006/relationships/image" Target="../media/image121.emf"/><Relationship Id="rId76" Type="http://schemas.openxmlformats.org/officeDocument/2006/relationships/image" Target="../media/image142.emf"/><Relationship Id="rId97" Type="http://schemas.openxmlformats.org/officeDocument/2006/relationships/image" Target="../media/image163.emf"/><Relationship Id="rId104" Type="http://schemas.openxmlformats.org/officeDocument/2006/relationships/image" Target="../media/image170.emf"/><Relationship Id="rId120" Type="http://schemas.openxmlformats.org/officeDocument/2006/relationships/image" Target="../media/image186.emf"/><Relationship Id="rId125" Type="http://schemas.openxmlformats.org/officeDocument/2006/relationships/image" Target="../media/image191.emf"/><Relationship Id="rId141" Type="http://schemas.openxmlformats.org/officeDocument/2006/relationships/image" Target="../media/image207.emf"/><Relationship Id="rId146" Type="http://schemas.openxmlformats.org/officeDocument/2006/relationships/image" Target="../media/image212.emf"/><Relationship Id="rId167" Type="http://schemas.openxmlformats.org/officeDocument/2006/relationships/image" Target="../media/image233.emf"/><Relationship Id="rId7" Type="http://schemas.openxmlformats.org/officeDocument/2006/relationships/image" Target="../media/image73.emf"/><Relationship Id="rId71" Type="http://schemas.openxmlformats.org/officeDocument/2006/relationships/image" Target="../media/image137.emf"/><Relationship Id="rId92" Type="http://schemas.openxmlformats.org/officeDocument/2006/relationships/image" Target="../media/image158.emf"/><Relationship Id="rId162" Type="http://schemas.openxmlformats.org/officeDocument/2006/relationships/image" Target="../media/image228.emf"/><Relationship Id="rId2" Type="http://schemas.openxmlformats.org/officeDocument/2006/relationships/notesSlide" Target="../notesSlides/notesSlide2.xml"/><Relationship Id="rId29" Type="http://schemas.openxmlformats.org/officeDocument/2006/relationships/image" Target="../media/image95.emf"/><Relationship Id="rId24" Type="http://schemas.openxmlformats.org/officeDocument/2006/relationships/image" Target="../media/image90.emf"/><Relationship Id="rId40" Type="http://schemas.openxmlformats.org/officeDocument/2006/relationships/image" Target="../media/image106.emf"/><Relationship Id="rId45" Type="http://schemas.openxmlformats.org/officeDocument/2006/relationships/image" Target="../media/image111.emf"/><Relationship Id="rId66" Type="http://schemas.openxmlformats.org/officeDocument/2006/relationships/image" Target="../media/image132.emf"/><Relationship Id="rId87" Type="http://schemas.openxmlformats.org/officeDocument/2006/relationships/image" Target="../media/image153.emf"/><Relationship Id="rId110" Type="http://schemas.openxmlformats.org/officeDocument/2006/relationships/image" Target="../media/image176.emf"/><Relationship Id="rId115" Type="http://schemas.openxmlformats.org/officeDocument/2006/relationships/image" Target="../media/image181.emf"/><Relationship Id="rId131" Type="http://schemas.openxmlformats.org/officeDocument/2006/relationships/image" Target="../media/image197.emf"/><Relationship Id="rId136" Type="http://schemas.openxmlformats.org/officeDocument/2006/relationships/image" Target="../media/image202.emf"/><Relationship Id="rId157" Type="http://schemas.openxmlformats.org/officeDocument/2006/relationships/image" Target="../media/image223.emf"/><Relationship Id="rId61" Type="http://schemas.openxmlformats.org/officeDocument/2006/relationships/image" Target="../media/image127.emf"/><Relationship Id="rId82" Type="http://schemas.openxmlformats.org/officeDocument/2006/relationships/image" Target="../media/image148.emf"/><Relationship Id="rId152" Type="http://schemas.openxmlformats.org/officeDocument/2006/relationships/image" Target="../media/image218.emf"/><Relationship Id="rId173" Type="http://schemas.openxmlformats.org/officeDocument/2006/relationships/image" Target="../media/image239.emf"/><Relationship Id="rId19" Type="http://schemas.openxmlformats.org/officeDocument/2006/relationships/image" Target="../media/image85.emf"/><Relationship Id="rId14" Type="http://schemas.openxmlformats.org/officeDocument/2006/relationships/image" Target="../media/image80.emf"/><Relationship Id="rId30" Type="http://schemas.openxmlformats.org/officeDocument/2006/relationships/image" Target="../media/image96.emf"/><Relationship Id="rId35" Type="http://schemas.openxmlformats.org/officeDocument/2006/relationships/image" Target="../media/image101.emf"/><Relationship Id="rId56" Type="http://schemas.openxmlformats.org/officeDocument/2006/relationships/image" Target="../media/image122.emf"/><Relationship Id="rId77" Type="http://schemas.openxmlformats.org/officeDocument/2006/relationships/image" Target="../media/image143.emf"/><Relationship Id="rId100" Type="http://schemas.openxmlformats.org/officeDocument/2006/relationships/image" Target="../media/image166.emf"/><Relationship Id="rId105" Type="http://schemas.openxmlformats.org/officeDocument/2006/relationships/image" Target="../media/image171.emf"/><Relationship Id="rId126" Type="http://schemas.openxmlformats.org/officeDocument/2006/relationships/image" Target="../media/image192.emf"/><Relationship Id="rId147" Type="http://schemas.openxmlformats.org/officeDocument/2006/relationships/image" Target="../media/image213.emf"/><Relationship Id="rId168" Type="http://schemas.openxmlformats.org/officeDocument/2006/relationships/image" Target="../media/image234.emf"/><Relationship Id="rId8" Type="http://schemas.openxmlformats.org/officeDocument/2006/relationships/image" Target="../media/image74.emf"/><Relationship Id="rId51" Type="http://schemas.openxmlformats.org/officeDocument/2006/relationships/image" Target="../media/image117.emf"/><Relationship Id="rId72" Type="http://schemas.openxmlformats.org/officeDocument/2006/relationships/image" Target="../media/image138.emf"/><Relationship Id="rId93" Type="http://schemas.openxmlformats.org/officeDocument/2006/relationships/image" Target="../media/image159.emf"/><Relationship Id="rId98" Type="http://schemas.openxmlformats.org/officeDocument/2006/relationships/image" Target="../media/image164.emf"/><Relationship Id="rId121" Type="http://schemas.openxmlformats.org/officeDocument/2006/relationships/image" Target="../media/image187.emf"/><Relationship Id="rId142" Type="http://schemas.openxmlformats.org/officeDocument/2006/relationships/image" Target="../media/image208.emf"/><Relationship Id="rId163" Type="http://schemas.openxmlformats.org/officeDocument/2006/relationships/image" Target="../media/image229.emf"/><Relationship Id="rId3" Type="http://schemas.openxmlformats.org/officeDocument/2006/relationships/image" Target="../media/image69.emf"/><Relationship Id="rId25" Type="http://schemas.openxmlformats.org/officeDocument/2006/relationships/image" Target="../media/image91.emf"/><Relationship Id="rId46" Type="http://schemas.openxmlformats.org/officeDocument/2006/relationships/image" Target="../media/image112.emf"/><Relationship Id="rId67" Type="http://schemas.openxmlformats.org/officeDocument/2006/relationships/image" Target="../media/image133.emf"/><Relationship Id="rId116" Type="http://schemas.openxmlformats.org/officeDocument/2006/relationships/image" Target="../media/image182.emf"/><Relationship Id="rId137" Type="http://schemas.openxmlformats.org/officeDocument/2006/relationships/image" Target="../media/image203.emf"/><Relationship Id="rId158" Type="http://schemas.openxmlformats.org/officeDocument/2006/relationships/image" Target="../media/image224.emf"/><Relationship Id="rId20" Type="http://schemas.openxmlformats.org/officeDocument/2006/relationships/image" Target="../media/image86.emf"/><Relationship Id="rId41" Type="http://schemas.openxmlformats.org/officeDocument/2006/relationships/image" Target="../media/image107.emf"/><Relationship Id="rId62" Type="http://schemas.openxmlformats.org/officeDocument/2006/relationships/image" Target="../media/image128.emf"/><Relationship Id="rId83" Type="http://schemas.openxmlformats.org/officeDocument/2006/relationships/image" Target="../media/image149.emf"/><Relationship Id="rId88" Type="http://schemas.openxmlformats.org/officeDocument/2006/relationships/image" Target="../media/image154.emf"/><Relationship Id="rId111" Type="http://schemas.openxmlformats.org/officeDocument/2006/relationships/image" Target="../media/image177.emf"/><Relationship Id="rId132" Type="http://schemas.openxmlformats.org/officeDocument/2006/relationships/image" Target="../media/image198.emf"/><Relationship Id="rId153" Type="http://schemas.openxmlformats.org/officeDocument/2006/relationships/image" Target="../media/image219.emf"/><Relationship Id="rId174" Type="http://schemas.openxmlformats.org/officeDocument/2006/relationships/image" Target="../media/image240.emf"/><Relationship Id="rId15" Type="http://schemas.openxmlformats.org/officeDocument/2006/relationships/image" Target="../media/image81.emf"/><Relationship Id="rId36" Type="http://schemas.openxmlformats.org/officeDocument/2006/relationships/image" Target="../media/image102.emf"/><Relationship Id="rId57" Type="http://schemas.openxmlformats.org/officeDocument/2006/relationships/image" Target="../media/image123.emf"/><Relationship Id="rId106" Type="http://schemas.openxmlformats.org/officeDocument/2006/relationships/image" Target="../media/image172.emf"/><Relationship Id="rId127" Type="http://schemas.openxmlformats.org/officeDocument/2006/relationships/image" Target="../media/image193.emf"/><Relationship Id="rId10" Type="http://schemas.openxmlformats.org/officeDocument/2006/relationships/image" Target="../media/image76.emf"/><Relationship Id="rId31" Type="http://schemas.openxmlformats.org/officeDocument/2006/relationships/image" Target="../media/image97.emf"/><Relationship Id="rId52" Type="http://schemas.openxmlformats.org/officeDocument/2006/relationships/image" Target="../media/image118.emf"/><Relationship Id="rId73" Type="http://schemas.openxmlformats.org/officeDocument/2006/relationships/image" Target="../media/image139.emf"/><Relationship Id="rId78" Type="http://schemas.openxmlformats.org/officeDocument/2006/relationships/image" Target="../media/image144.emf"/><Relationship Id="rId94" Type="http://schemas.openxmlformats.org/officeDocument/2006/relationships/image" Target="../media/image160.emf"/><Relationship Id="rId99" Type="http://schemas.openxmlformats.org/officeDocument/2006/relationships/image" Target="../media/image165.emf"/><Relationship Id="rId101" Type="http://schemas.openxmlformats.org/officeDocument/2006/relationships/image" Target="../media/image167.emf"/><Relationship Id="rId122" Type="http://schemas.openxmlformats.org/officeDocument/2006/relationships/image" Target="../media/image188.emf"/><Relationship Id="rId143" Type="http://schemas.openxmlformats.org/officeDocument/2006/relationships/image" Target="../media/image209.emf"/><Relationship Id="rId148" Type="http://schemas.openxmlformats.org/officeDocument/2006/relationships/image" Target="../media/image214.emf"/><Relationship Id="rId164" Type="http://schemas.openxmlformats.org/officeDocument/2006/relationships/image" Target="../media/image230.emf"/><Relationship Id="rId169" Type="http://schemas.openxmlformats.org/officeDocument/2006/relationships/image" Target="../media/image235.emf"/><Relationship Id="rId4" Type="http://schemas.openxmlformats.org/officeDocument/2006/relationships/image" Target="../media/image70.emf"/><Relationship Id="rId9" Type="http://schemas.openxmlformats.org/officeDocument/2006/relationships/image" Target="../media/image75.emf"/><Relationship Id="rId26" Type="http://schemas.openxmlformats.org/officeDocument/2006/relationships/image" Target="../media/image92.emf"/><Relationship Id="rId47" Type="http://schemas.openxmlformats.org/officeDocument/2006/relationships/image" Target="../media/image113.emf"/><Relationship Id="rId68" Type="http://schemas.openxmlformats.org/officeDocument/2006/relationships/image" Target="../media/image134.emf"/><Relationship Id="rId89" Type="http://schemas.openxmlformats.org/officeDocument/2006/relationships/image" Target="../media/image155.emf"/><Relationship Id="rId112" Type="http://schemas.openxmlformats.org/officeDocument/2006/relationships/image" Target="../media/image178.emf"/><Relationship Id="rId133" Type="http://schemas.openxmlformats.org/officeDocument/2006/relationships/image" Target="../media/image199.emf"/><Relationship Id="rId154" Type="http://schemas.openxmlformats.org/officeDocument/2006/relationships/image" Target="../media/image220.emf"/><Relationship Id="rId175" Type="http://schemas.openxmlformats.org/officeDocument/2006/relationships/image" Target="../media/image241.emf"/><Relationship Id="rId16" Type="http://schemas.openxmlformats.org/officeDocument/2006/relationships/image" Target="../media/image82.emf"/><Relationship Id="rId37" Type="http://schemas.openxmlformats.org/officeDocument/2006/relationships/image" Target="../media/image103.emf"/><Relationship Id="rId58" Type="http://schemas.openxmlformats.org/officeDocument/2006/relationships/image" Target="../media/image124.emf"/><Relationship Id="rId79" Type="http://schemas.openxmlformats.org/officeDocument/2006/relationships/image" Target="../media/image145.emf"/><Relationship Id="rId102" Type="http://schemas.openxmlformats.org/officeDocument/2006/relationships/image" Target="../media/image168.emf"/><Relationship Id="rId123" Type="http://schemas.openxmlformats.org/officeDocument/2006/relationships/image" Target="../media/image189.emf"/><Relationship Id="rId144" Type="http://schemas.openxmlformats.org/officeDocument/2006/relationships/image" Target="../media/image210.emf"/><Relationship Id="rId90" Type="http://schemas.openxmlformats.org/officeDocument/2006/relationships/image" Target="../media/image156.emf"/><Relationship Id="rId165" Type="http://schemas.openxmlformats.org/officeDocument/2006/relationships/image" Target="../media/image231.emf"/><Relationship Id="rId27" Type="http://schemas.openxmlformats.org/officeDocument/2006/relationships/image" Target="../media/image93.emf"/><Relationship Id="rId48" Type="http://schemas.openxmlformats.org/officeDocument/2006/relationships/image" Target="../media/image114.emf"/><Relationship Id="rId69" Type="http://schemas.openxmlformats.org/officeDocument/2006/relationships/image" Target="../media/image135.emf"/><Relationship Id="rId113" Type="http://schemas.openxmlformats.org/officeDocument/2006/relationships/image" Target="../media/image179.emf"/><Relationship Id="rId134" Type="http://schemas.openxmlformats.org/officeDocument/2006/relationships/image" Target="../media/image200.emf"/><Relationship Id="rId80" Type="http://schemas.openxmlformats.org/officeDocument/2006/relationships/image" Target="../media/image146.emf"/><Relationship Id="rId155" Type="http://schemas.openxmlformats.org/officeDocument/2006/relationships/image" Target="../media/image221.emf"/><Relationship Id="rId17" Type="http://schemas.openxmlformats.org/officeDocument/2006/relationships/image" Target="../media/image83.emf"/><Relationship Id="rId38" Type="http://schemas.openxmlformats.org/officeDocument/2006/relationships/image" Target="../media/image104.emf"/><Relationship Id="rId59" Type="http://schemas.openxmlformats.org/officeDocument/2006/relationships/image" Target="../media/image125.emf"/><Relationship Id="rId103" Type="http://schemas.openxmlformats.org/officeDocument/2006/relationships/image" Target="../media/image169.emf"/><Relationship Id="rId124" Type="http://schemas.openxmlformats.org/officeDocument/2006/relationships/image" Target="../media/image190.emf"/><Relationship Id="rId70" Type="http://schemas.openxmlformats.org/officeDocument/2006/relationships/image" Target="../media/image136.emf"/><Relationship Id="rId91" Type="http://schemas.openxmlformats.org/officeDocument/2006/relationships/image" Target="../media/image157.emf"/><Relationship Id="rId145" Type="http://schemas.openxmlformats.org/officeDocument/2006/relationships/image" Target="../media/image211.emf"/><Relationship Id="rId166" Type="http://schemas.openxmlformats.org/officeDocument/2006/relationships/image" Target="../media/image23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8.png"/><Relationship Id="rId3" Type="http://schemas.openxmlformats.org/officeDocument/2006/relationships/image" Target="../media/image243.png"/><Relationship Id="rId7" Type="http://schemas.openxmlformats.org/officeDocument/2006/relationships/image" Target="../media/image247.png"/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46.png"/><Relationship Id="rId5" Type="http://schemas.openxmlformats.org/officeDocument/2006/relationships/image" Target="../media/image245.png"/><Relationship Id="rId4" Type="http://schemas.openxmlformats.org/officeDocument/2006/relationships/image" Target="../media/image2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Agrupar 1"/>
          <p:cNvSpPr/>
          <p:nvPr/>
        </p:nvSpPr>
        <p:spPr>
          <a:xfrm rot="10800000">
            <a:off x="10177115" y="-1"/>
            <a:ext cx="2014935" cy="2014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96" extrusionOk="0">
                <a:moveTo>
                  <a:pt x="21572" y="21544"/>
                </a:moveTo>
                <a:lnTo>
                  <a:pt x="21581" y="0"/>
                </a:lnTo>
                <a:lnTo>
                  <a:pt x="7156" y="0"/>
                </a:lnTo>
                <a:cubicBezTo>
                  <a:pt x="5359" y="-4"/>
                  <a:pt x="3627" y="669"/>
                  <a:pt x="2307" y="1884"/>
                </a:cubicBezTo>
                <a:cubicBezTo>
                  <a:pt x="819" y="3253"/>
                  <a:pt x="-19" y="5186"/>
                  <a:pt x="0" y="7205"/>
                </a:cubicBezTo>
                <a:lnTo>
                  <a:pt x="22" y="21596"/>
                </a:lnTo>
                <a:lnTo>
                  <a:pt x="21572" y="21544"/>
                </a:lnTo>
                <a:close/>
              </a:path>
            </a:pathLst>
          </a:custGeom>
          <a:solidFill>
            <a:srgbClr val="FF59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sp>
        <p:nvSpPr>
          <p:cNvPr id="106" name="título…"/>
          <p:cNvSpPr txBox="1"/>
          <p:nvPr/>
        </p:nvSpPr>
        <p:spPr>
          <a:xfrm>
            <a:off x="781393" y="1430241"/>
            <a:ext cx="6255065" cy="171906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410765" hangingPunct="0">
              <a:lnSpc>
                <a:spcPct val="70000"/>
              </a:lnSpc>
              <a:spcBef>
                <a:spcPts val="100"/>
              </a:spcBef>
              <a:defRPr sz="15000" spc="-330">
                <a:solidFill>
                  <a:srgbClr val="0F3399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pPr>
            <a:r>
              <a:rPr lang="es-CL" sz="7500" kern="0" spc="-165" dirty="0">
                <a:solidFill>
                  <a:srgbClr val="0F3399"/>
                </a:solidFill>
                <a:latin typeface="Itau Display Pro Regular"/>
                <a:sym typeface="Itau Display Pro Regular"/>
              </a:rPr>
              <a:t>Títulos</a:t>
            </a:r>
            <a:r>
              <a:rPr sz="7500" kern="0" spc="-165" dirty="0">
                <a:solidFill>
                  <a:srgbClr val="0F3399"/>
                </a:solidFill>
                <a:latin typeface="Itau Display Pro Regular"/>
                <a:sym typeface="Itau Display Pro Regular"/>
              </a:rPr>
              <a:t> d</a:t>
            </a:r>
            <a:r>
              <a:rPr lang="es-ES" sz="7500" kern="0" spc="-165" dirty="0">
                <a:solidFill>
                  <a:srgbClr val="0F3399"/>
                </a:solidFill>
                <a:latin typeface="Itau Display Pro Regular"/>
                <a:sym typeface="Itau Display Pro Regular"/>
              </a:rPr>
              <a:t>el </a:t>
            </a:r>
            <a:r>
              <a:rPr lang="es-ES" sz="7500" kern="0" spc="-165" dirty="0">
                <a:solidFill>
                  <a:srgbClr val="0F3399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rPr>
              <a:t>proyecto</a:t>
            </a:r>
            <a:endParaRPr sz="7500" kern="0" spc="-165" dirty="0">
              <a:solidFill>
                <a:srgbClr val="0F3399"/>
              </a:solidFill>
              <a:latin typeface="Itau Display Pro Bold"/>
              <a:ea typeface="Itau Display Pro Bold"/>
              <a:cs typeface="Itau Display Pro Bold"/>
              <a:sym typeface="Itau Display Pro Bold"/>
            </a:endParaRPr>
          </a:p>
        </p:txBody>
      </p:sp>
      <p:sp>
        <p:nvSpPr>
          <p:cNvPr id="107" name="Lorem ipsum dolor sit amet, consectetur adipiscing elit. Phasellus molestie risus sit amet pulvinar viverra. Praesent eget dui a purus cursus mollis. Etiam quis sodales urna, ac tempor neque."/>
          <p:cNvSpPr txBox="1"/>
          <p:nvPr/>
        </p:nvSpPr>
        <p:spPr>
          <a:xfrm>
            <a:off x="781393" y="3899131"/>
            <a:ext cx="3329248" cy="14824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2438337">
              <a:spcBef>
                <a:spcPts val="1700"/>
              </a:spcBef>
              <a:defRPr sz="3100" spc="62">
                <a:solidFill>
                  <a:srgbClr val="0F3399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defTabSz="1219169" hangingPunct="0">
              <a:spcBef>
                <a:spcPts val="850"/>
              </a:spcBef>
            </a:pPr>
            <a:r>
              <a:rPr sz="1550" kern="0" spc="31"/>
              <a:t>Lorem ipsum dolor sit amet, consectetur adipiscing elit. Phasellus molestie risus sit amet pulvinar viverra. Praesent eget dui a purus cursus mollis. Etiam quis sodales urna, ac tempor neque.</a:t>
            </a:r>
          </a:p>
        </p:txBody>
      </p:sp>
      <p:pic>
        <p:nvPicPr>
          <p:cNvPr id="108" name="Imagem" descr="Imagem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2689" y="397942"/>
            <a:ext cx="467074" cy="467073"/>
          </a:xfrm>
          <a:prstGeom prst="rect">
            <a:avLst/>
          </a:prstGeom>
          <a:ln w="12700">
            <a:miter lim="400000"/>
          </a:ln>
        </p:spPr>
      </p:pic>
      <p:sp>
        <p:nvSpPr>
          <p:cNvPr id="109" name="Shape"/>
          <p:cNvSpPr/>
          <p:nvPr/>
        </p:nvSpPr>
        <p:spPr>
          <a:xfrm rot="10800000" flipH="1">
            <a:off x="10182273" y="2031872"/>
            <a:ext cx="2014886" cy="48531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5" h="21596" extrusionOk="0">
                <a:moveTo>
                  <a:pt x="21565" y="21596"/>
                </a:moveTo>
                <a:cubicBezTo>
                  <a:pt x="21572" y="14423"/>
                  <a:pt x="21578" y="7250"/>
                  <a:pt x="21585" y="77"/>
                </a:cubicBezTo>
                <a:lnTo>
                  <a:pt x="5824" y="0"/>
                </a:lnTo>
                <a:cubicBezTo>
                  <a:pt x="4361" y="-4"/>
                  <a:pt x="2952" y="669"/>
                  <a:pt x="1878" y="1884"/>
                </a:cubicBezTo>
                <a:cubicBezTo>
                  <a:pt x="667" y="3252"/>
                  <a:pt x="-15" y="5185"/>
                  <a:pt x="0" y="7204"/>
                </a:cubicBezTo>
                <a:cubicBezTo>
                  <a:pt x="6" y="12000"/>
                  <a:pt x="13" y="16796"/>
                  <a:pt x="18" y="21592"/>
                </a:cubicBezTo>
                <a:lnTo>
                  <a:pt x="21565" y="21596"/>
                </a:lnTo>
                <a:close/>
              </a:path>
            </a:pathLst>
          </a:custGeom>
          <a:solidFill>
            <a:srgbClr val="0E3399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 dirty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sp>
        <p:nvSpPr>
          <p:cNvPr id="112" name="Shape"/>
          <p:cNvSpPr/>
          <p:nvPr/>
        </p:nvSpPr>
        <p:spPr>
          <a:xfrm rot="10800000">
            <a:off x="10172700" y="2013795"/>
            <a:ext cx="2133747" cy="2134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ubicBezTo>
                  <a:pt x="6034" y="21304"/>
                  <a:pt x="11699" y="18710"/>
                  <a:pt x="15749" y="14390"/>
                </a:cubicBezTo>
                <a:cubicBezTo>
                  <a:pt x="19452" y="10440"/>
                  <a:pt x="21533" y="5323"/>
                  <a:pt x="21600" y="0"/>
                </a:cubicBezTo>
                <a:close/>
              </a:path>
            </a:pathLst>
          </a:custGeom>
          <a:solidFill>
            <a:srgbClr val="A7A7A7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b="1"/>
            </a:pPr>
            <a:endParaRPr sz="1500" b="1" ker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  <p:sp>
        <p:nvSpPr>
          <p:cNvPr id="113" name="Agrupar 1"/>
          <p:cNvSpPr/>
          <p:nvPr/>
        </p:nvSpPr>
        <p:spPr>
          <a:xfrm rot="10800000">
            <a:off x="10177114" y="4864099"/>
            <a:ext cx="2014886" cy="20110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96" extrusionOk="0">
                <a:moveTo>
                  <a:pt x="21572" y="21544"/>
                </a:moveTo>
                <a:lnTo>
                  <a:pt x="21581" y="0"/>
                </a:lnTo>
                <a:lnTo>
                  <a:pt x="7156" y="0"/>
                </a:lnTo>
                <a:cubicBezTo>
                  <a:pt x="5359" y="-4"/>
                  <a:pt x="3627" y="669"/>
                  <a:pt x="2307" y="1884"/>
                </a:cubicBezTo>
                <a:cubicBezTo>
                  <a:pt x="819" y="3253"/>
                  <a:pt x="-19" y="5186"/>
                  <a:pt x="0" y="7205"/>
                </a:cubicBezTo>
                <a:lnTo>
                  <a:pt x="22" y="21596"/>
                </a:lnTo>
                <a:lnTo>
                  <a:pt x="21572" y="21544"/>
                </a:lnTo>
                <a:close/>
              </a:path>
            </a:pathLst>
          </a:custGeom>
          <a:solidFill>
            <a:srgbClr val="FF59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sp>
        <p:nvSpPr>
          <p:cNvPr id="114" name="Shape"/>
          <p:cNvSpPr/>
          <p:nvPr/>
        </p:nvSpPr>
        <p:spPr>
          <a:xfrm rot="10800000">
            <a:off x="-6692" y="-3268"/>
            <a:ext cx="834917" cy="8351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ubicBezTo>
                  <a:pt x="6034" y="21304"/>
                  <a:pt x="11699" y="18710"/>
                  <a:pt x="15749" y="14390"/>
                </a:cubicBezTo>
                <a:cubicBezTo>
                  <a:pt x="19452" y="10440"/>
                  <a:pt x="21533" y="5323"/>
                  <a:pt x="21600" y="0"/>
                </a:cubicBezTo>
                <a:close/>
              </a:path>
            </a:pathLst>
          </a:custGeom>
          <a:solidFill>
            <a:srgbClr val="F7590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b="1"/>
            </a:pPr>
            <a:endParaRPr sz="1500" b="1" ker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  <p:sp>
        <p:nvSpPr>
          <p:cNvPr id="115" name="Shape"/>
          <p:cNvSpPr/>
          <p:nvPr/>
        </p:nvSpPr>
        <p:spPr>
          <a:xfrm>
            <a:off x="8048526" y="4750762"/>
            <a:ext cx="2133747" cy="2134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ubicBezTo>
                  <a:pt x="6034" y="21304"/>
                  <a:pt x="11699" y="18710"/>
                  <a:pt x="15749" y="14390"/>
                </a:cubicBezTo>
                <a:cubicBezTo>
                  <a:pt x="19452" y="10440"/>
                  <a:pt x="21533" y="5323"/>
                  <a:pt x="21600" y="0"/>
                </a:cubicBezTo>
                <a:close/>
              </a:path>
            </a:pathLst>
          </a:custGeom>
          <a:solidFill>
            <a:srgbClr val="2CA0E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b="1"/>
            </a:pPr>
            <a:endParaRPr sz="1500" b="1" ker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ITAU_MANIFESTO_2022_3127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44" y="1639599"/>
            <a:ext cx="3987518" cy="521840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</p:pic>
      <p:sp>
        <p:nvSpPr>
          <p:cNvPr id="71" name="Shape"/>
          <p:cNvSpPr/>
          <p:nvPr/>
        </p:nvSpPr>
        <p:spPr>
          <a:xfrm rot="10800000" flipH="1">
            <a:off x="10172070" y="2022927"/>
            <a:ext cx="2019931" cy="48591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5" h="21596" extrusionOk="0">
                <a:moveTo>
                  <a:pt x="21565" y="21596"/>
                </a:moveTo>
                <a:cubicBezTo>
                  <a:pt x="21572" y="14423"/>
                  <a:pt x="21578" y="7250"/>
                  <a:pt x="21585" y="77"/>
                </a:cubicBezTo>
                <a:lnTo>
                  <a:pt x="5824" y="0"/>
                </a:lnTo>
                <a:cubicBezTo>
                  <a:pt x="4361" y="-4"/>
                  <a:pt x="2952" y="669"/>
                  <a:pt x="1878" y="1884"/>
                </a:cubicBezTo>
                <a:cubicBezTo>
                  <a:pt x="667" y="3252"/>
                  <a:pt x="-15" y="5185"/>
                  <a:pt x="0" y="7204"/>
                </a:cubicBezTo>
                <a:cubicBezTo>
                  <a:pt x="6" y="12000"/>
                  <a:pt x="13" y="16796"/>
                  <a:pt x="18" y="21592"/>
                </a:cubicBezTo>
                <a:lnTo>
                  <a:pt x="21565" y="21596"/>
                </a:lnTo>
                <a:close/>
              </a:path>
            </a:pathLst>
          </a:custGeom>
          <a:solidFill>
            <a:srgbClr val="0E3399">
              <a:alpha val="2952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 dirty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sp>
        <p:nvSpPr>
          <p:cNvPr id="72" name="Agrupar 1"/>
          <p:cNvSpPr/>
          <p:nvPr/>
        </p:nvSpPr>
        <p:spPr>
          <a:xfrm rot="10800000">
            <a:off x="10177115" y="-1"/>
            <a:ext cx="2014935" cy="2014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96" extrusionOk="0">
                <a:moveTo>
                  <a:pt x="21572" y="21544"/>
                </a:moveTo>
                <a:lnTo>
                  <a:pt x="21581" y="0"/>
                </a:lnTo>
                <a:lnTo>
                  <a:pt x="7156" y="0"/>
                </a:lnTo>
                <a:cubicBezTo>
                  <a:pt x="5359" y="-4"/>
                  <a:pt x="3627" y="669"/>
                  <a:pt x="2307" y="1884"/>
                </a:cubicBezTo>
                <a:cubicBezTo>
                  <a:pt x="819" y="3253"/>
                  <a:pt x="-19" y="5186"/>
                  <a:pt x="0" y="7205"/>
                </a:cubicBezTo>
                <a:lnTo>
                  <a:pt x="22" y="21596"/>
                </a:lnTo>
                <a:lnTo>
                  <a:pt x="21572" y="21544"/>
                </a:lnTo>
                <a:close/>
              </a:path>
            </a:pathLst>
          </a:custGeom>
          <a:solidFill>
            <a:srgbClr val="FF59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pic>
        <p:nvPicPr>
          <p:cNvPr id="73" name="Imagem" descr="Imagem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2689" y="397942"/>
            <a:ext cx="467074" cy="467073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Shape"/>
          <p:cNvSpPr/>
          <p:nvPr/>
        </p:nvSpPr>
        <p:spPr>
          <a:xfrm rot="10800000">
            <a:off x="10172700" y="2013795"/>
            <a:ext cx="2133747" cy="2134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ubicBezTo>
                  <a:pt x="6034" y="21304"/>
                  <a:pt x="11699" y="18710"/>
                  <a:pt x="15749" y="14390"/>
                </a:cubicBezTo>
                <a:cubicBezTo>
                  <a:pt x="19452" y="10440"/>
                  <a:pt x="21533" y="5323"/>
                  <a:pt x="21600" y="0"/>
                </a:cubicBezTo>
                <a:close/>
              </a:path>
            </a:pathLst>
          </a:custGeom>
          <a:solidFill>
            <a:srgbClr val="A7A7A7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b="1"/>
            </a:pPr>
            <a:endParaRPr sz="1500" b="1" ker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  <p:sp>
        <p:nvSpPr>
          <p:cNvPr id="75" name="Shape"/>
          <p:cNvSpPr/>
          <p:nvPr/>
        </p:nvSpPr>
        <p:spPr>
          <a:xfrm rot="10800000">
            <a:off x="10177115" y="4756784"/>
            <a:ext cx="2019931" cy="2122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96" extrusionOk="0">
                <a:moveTo>
                  <a:pt x="21572" y="21544"/>
                </a:moveTo>
                <a:lnTo>
                  <a:pt x="21581" y="0"/>
                </a:lnTo>
                <a:lnTo>
                  <a:pt x="7156" y="0"/>
                </a:lnTo>
                <a:cubicBezTo>
                  <a:pt x="5359" y="-4"/>
                  <a:pt x="3627" y="669"/>
                  <a:pt x="2307" y="1884"/>
                </a:cubicBezTo>
                <a:cubicBezTo>
                  <a:pt x="819" y="3253"/>
                  <a:pt x="-19" y="5186"/>
                  <a:pt x="0" y="7205"/>
                </a:cubicBezTo>
                <a:lnTo>
                  <a:pt x="22" y="21596"/>
                </a:lnTo>
                <a:lnTo>
                  <a:pt x="21572" y="21544"/>
                </a:lnTo>
                <a:close/>
              </a:path>
            </a:pathLst>
          </a:custGeom>
          <a:solidFill>
            <a:srgbClr val="0F3399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 b="1">
                <a:solidFill>
                  <a:srgbClr val="FFFFFF"/>
                </a:solidFill>
                <a:latin typeface="Itau Display Pro Bold"/>
                <a:ea typeface="Itau Display Pro Bold"/>
                <a:cs typeface="Itau Display Pro Bold"/>
                <a:sym typeface="Itau Display Pro Bold"/>
              </a:defRPr>
            </a:pPr>
            <a:endParaRPr sz="1600" b="1" kern="0">
              <a:solidFill>
                <a:srgbClr val="FFFFFF"/>
              </a:solidFill>
              <a:latin typeface="Itau Display Pro Bold"/>
              <a:sym typeface="Itau Display Pro Bold"/>
            </a:endParaRPr>
          </a:p>
        </p:txBody>
      </p:sp>
      <p:sp>
        <p:nvSpPr>
          <p:cNvPr id="77" name="título…"/>
          <p:cNvSpPr txBox="1"/>
          <p:nvPr/>
        </p:nvSpPr>
        <p:spPr>
          <a:xfrm>
            <a:off x="3167002" y="2013794"/>
            <a:ext cx="6329479" cy="1535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410765" hangingPunct="0">
              <a:lnSpc>
                <a:spcPct val="70000"/>
              </a:lnSpc>
              <a:spcBef>
                <a:spcPts val="100"/>
              </a:spcBef>
              <a:defRPr sz="15000" spc="-330">
                <a:solidFill>
                  <a:srgbClr val="FFFFFF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pPr>
            <a:r>
              <a:rPr lang="es-ES" sz="12950" b="1" kern="0" spc="-165" dirty="0">
                <a:solidFill>
                  <a:srgbClr val="FF5900"/>
                </a:solidFill>
                <a:latin typeface="Itau Display Pro Regular"/>
                <a:sym typeface="Itau Display Pro Regular"/>
              </a:rPr>
              <a:t>Gracias_</a:t>
            </a:r>
            <a:endParaRPr sz="12950" b="1" kern="0" spc="-165" dirty="0">
              <a:solidFill>
                <a:srgbClr val="FF5900"/>
              </a:solidFill>
              <a:latin typeface="Itau Display Pro Bold"/>
              <a:ea typeface="Itau Display Pro Bold"/>
              <a:cs typeface="Itau Display Pro Bold"/>
              <a:sym typeface="Itau Display Pro Bold"/>
            </a:endParaRPr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noProof="0" dirty="0"/>
              <a:t>Forma</a:t>
            </a: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CL" noProof="0" dirty="0"/>
              <a:t>Identidad Visual | </a:t>
            </a:r>
            <a:r>
              <a:rPr lang="es-CL" noProof="0" dirty="0">
                <a:solidFill>
                  <a:schemeClr val="accent6"/>
                </a:solidFill>
              </a:rPr>
              <a:t>Paleta de Colores DGA</a:t>
            </a: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8" name="Retângulo 37"/>
          <p:cNvSpPr/>
          <p:nvPr/>
        </p:nvSpPr>
        <p:spPr>
          <a:xfrm>
            <a:off x="415891" y="1338944"/>
            <a:ext cx="11398249" cy="48244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25400" dir="8100000" algn="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39" name="CaixaDeTexto 38"/>
          <p:cNvSpPr txBox="1"/>
          <p:nvPr>
            <p:custDataLst>
              <p:tags r:id="rId1"/>
            </p:custDataLst>
          </p:nvPr>
        </p:nvSpPr>
        <p:spPr>
          <a:xfrm>
            <a:off x="2042622" y="3263212"/>
            <a:ext cx="32273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Colores generados por la paleta de PowerPoint</a:t>
            </a:r>
          </a:p>
        </p:txBody>
      </p:sp>
      <p:sp>
        <p:nvSpPr>
          <p:cNvPr id="40" name="CaixaDeTexto 39"/>
          <p:cNvSpPr txBox="1"/>
          <p:nvPr>
            <p:custDataLst>
              <p:tags r:id="rId2"/>
            </p:custDataLst>
          </p:nvPr>
        </p:nvSpPr>
        <p:spPr>
          <a:xfrm>
            <a:off x="2053935" y="1408907"/>
            <a:ext cx="21025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Paleta Oficial DGA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(RGBs)</a:t>
            </a:r>
          </a:p>
        </p:txBody>
      </p:sp>
      <p:sp>
        <p:nvSpPr>
          <p:cNvPr id="41" name="Retângulo de cantos arredondados 9"/>
          <p:cNvSpPr/>
          <p:nvPr/>
        </p:nvSpPr>
        <p:spPr>
          <a:xfrm>
            <a:off x="2138225" y="1857311"/>
            <a:ext cx="1075487" cy="10754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Azul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29  64  128</a:t>
            </a:r>
          </a:p>
        </p:txBody>
      </p:sp>
      <p:sp>
        <p:nvSpPr>
          <p:cNvPr id="42" name="Retângulo de cantos arredondados 10"/>
          <p:cNvSpPr/>
          <p:nvPr/>
        </p:nvSpPr>
        <p:spPr>
          <a:xfrm>
            <a:off x="3443992" y="1857311"/>
            <a:ext cx="1075487" cy="107548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Azul 20%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205  215  234</a:t>
            </a:r>
          </a:p>
        </p:txBody>
      </p:sp>
      <p:sp>
        <p:nvSpPr>
          <p:cNvPr id="43" name="Retângulo de cantos arredondados 11"/>
          <p:cNvSpPr/>
          <p:nvPr/>
        </p:nvSpPr>
        <p:spPr>
          <a:xfrm>
            <a:off x="4749760" y="1857311"/>
            <a:ext cx="1075487" cy="107548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Verde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115  198  161</a:t>
            </a:r>
          </a:p>
        </p:txBody>
      </p:sp>
      <p:sp>
        <p:nvSpPr>
          <p:cNvPr id="44" name="Retângulo de cantos arredondados 12"/>
          <p:cNvSpPr/>
          <p:nvPr/>
        </p:nvSpPr>
        <p:spPr>
          <a:xfrm>
            <a:off x="6055527" y="1857311"/>
            <a:ext cx="1075487" cy="107548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Verde 20%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222  240  231</a:t>
            </a:r>
          </a:p>
        </p:txBody>
      </p:sp>
      <p:sp>
        <p:nvSpPr>
          <p:cNvPr id="45" name="Retângulo de cantos arredondados 13"/>
          <p:cNvSpPr/>
          <p:nvPr/>
        </p:nvSpPr>
        <p:spPr>
          <a:xfrm>
            <a:off x="7361295" y="1857311"/>
            <a:ext cx="1075487" cy="1075487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Naranj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255  120  0</a:t>
            </a:r>
          </a:p>
        </p:txBody>
      </p:sp>
      <p:sp>
        <p:nvSpPr>
          <p:cNvPr id="46" name="Retângulo de cantos arredondados 14"/>
          <p:cNvSpPr/>
          <p:nvPr/>
        </p:nvSpPr>
        <p:spPr>
          <a:xfrm>
            <a:off x="8667062" y="1857311"/>
            <a:ext cx="1075487" cy="1075487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Gris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95  96  98</a:t>
            </a:r>
          </a:p>
        </p:txBody>
      </p:sp>
      <p:grpSp>
        <p:nvGrpSpPr>
          <p:cNvPr id="47" name="Grupo 15"/>
          <p:cNvGrpSpPr/>
          <p:nvPr/>
        </p:nvGrpSpPr>
        <p:grpSpPr>
          <a:xfrm>
            <a:off x="2138225" y="3755427"/>
            <a:ext cx="7604315" cy="1417436"/>
            <a:chOff x="3917116" y="3667759"/>
            <a:chExt cx="7604315" cy="1951989"/>
          </a:xfrm>
        </p:grpSpPr>
        <p:sp>
          <p:nvSpPr>
            <p:cNvPr id="48" name="Retângulo 47"/>
            <p:cNvSpPr/>
            <p:nvPr/>
          </p:nvSpPr>
          <p:spPr>
            <a:xfrm>
              <a:off x="3917116" y="3667759"/>
              <a:ext cx="1075487" cy="65066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40%</a:t>
              </a:r>
            </a:p>
          </p:txBody>
        </p:sp>
        <p:sp>
          <p:nvSpPr>
            <p:cNvPr id="49" name="Retângulo 48"/>
            <p:cNvSpPr/>
            <p:nvPr/>
          </p:nvSpPr>
          <p:spPr>
            <a:xfrm>
              <a:off x="3917116" y="4318422"/>
              <a:ext cx="1075487" cy="6506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60%</a:t>
              </a:r>
            </a:p>
          </p:txBody>
        </p:sp>
        <p:sp>
          <p:nvSpPr>
            <p:cNvPr id="50" name="Retângulo 49"/>
            <p:cNvSpPr/>
            <p:nvPr/>
          </p:nvSpPr>
          <p:spPr>
            <a:xfrm>
              <a:off x="3917116" y="4969085"/>
              <a:ext cx="1075487" cy="6506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80%</a:t>
              </a:r>
            </a:p>
          </p:txBody>
        </p:sp>
        <p:sp>
          <p:nvSpPr>
            <p:cNvPr id="51" name="Retângulo 50"/>
            <p:cNvSpPr/>
            <p:nvPr/>
          </p:nvSpPr>
          <p:spPr>
            <a:xfrm>
              <a:off x="5222883" y="3667759"/>
              <a:ext cx="1075487" cy="650663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50%</a:t>
              </a:r>
            </a:p>
          </p:txBody>
        </p:sp>
        <p:sp>
          <p:nvSpPr>
            <p:cNvPr id="52" name="Retângulo 51"/>
            <p:cNvSpPr/>
            <p:nvPr/>
          </p:nvSpPr>
          <p:spPr>
            <a:xfrm>
              <a:off x="5222883" y="4318422"/>
              <a:ext cx="1075487" cy="65066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25%</a:t>
              </a:r>
            </a:p>
          </p:txBody>
        </p:sp>
        <p:sp>
          <p:nvSpPr>
            <p:cNvPr id="53" name="Retângulo 52"/>
            <p:cNvSpPr/>
            <p:nvPr/>
          </p:nvSpPr>
          <p:spPr>
            <a:xfrm>
              <a:off x="5222883" y="4969085"/>
              <a:ext cx="1075487" cy="650663"/>
            </a:xfrm>
            <a:prstGeom prst="rect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10%</a:t>
              </a:r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6528649" y="3667759"/>
              <a:ext cx="1075487" cy="650663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40%</a:t>
              </a:r>
            </a:p>
          </p:txBody>
        </p:sp>
        <p:sp>
          <p:nvSpPr>
            <p:cNvPr id="55" name="Retângulo 54"/>
            <p:cNvSpPr/>
            <p:nvPr/>
          </p:nvSpPr>
          <p:spPr>
            <a:xfrm>
              <a:off x="6528649" y="4318422"/>
              <a:ext cx="1075487" cy="65066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60 %</a:t>
              </a:r>
            </a:p>
          </p:txBody>
        </p:sp>
        <p:sp>
          <p:nvSpPr>
            <p:cNvPr id="56" name="Retângulo 55"/>
            <p:cNvSpPr/>
            <p:nvPr/>
          </p:nvSpPr>
          <p:spPr>
            <a:xfrm>
              <a:off x="6528649" y="4969085"/>
              <a:ext cx="1075487" cy="65066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80%</a:t>
              </a:r>
            </a:p>
          </p:txBody>
        </p:sp>
        <p:sp>
          <p:nvSpPr>
            <p:cNvPr id="57" name="Retângulo 56"/>
            <p:cNvSpPr/>
            <p:nvPr/>
          </p:nvSpPr>
          <p:spPr>
            <a:xfrm>
              <a:off x="7834414" y="3667759"/>
              <a:ext cx="1075487" cy="650663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50%</a:t>
              </a: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7834414" y="4318422"/>
              <a:ext cx="1075487" cy="6506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25%</a:t>
              </a: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834414" y="4969085"/>
              <a:ext cx="1075487" cy="650663"/>
            </a:xfrm>
            <a:prstGeom prst="rect">
              <a:avLst/>
            </a:prstGeom>
            <a:solidFill>
              <a:schemeClr val="accent4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oscuro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10%</a:t>
              </a:r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9140179" y="3667759"/>
              <a:ext cx="1075487" cy="65066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40%</a:t>
              </a:r>
            </a:p>
          </p:txBody>
        </p:sp>
        <p:sp>
          <p:nvSpPr>
            <p:cNvPr id="61" name="Retângulo 60"/>
            <p:cNvSpPr/>
            <p:nvPr/>
          </p:nvSpPr>
          <p:spPr>
            <a:xfrm>
              <a:off x="9140179" y="4318422"/>
              <a:ext cx="1075487" cy="6506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60%</a:t>
              </a:r>
            </a:p>
          </p:txBody>
        </p:sp>
        <p:sp>
          <p:nvSpPr>
            <p:cNvPr id="62" name="Retângulo 61"/>
            <p:cNvSpPr/>
            <p:nvPr/>
          </p:nvSpPr>
          <p:spPr>
            <a:xfrm>
              <a:off x="9140179" y="4969085"/>
              <a:ext cx="1075487" cy="6506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80%</a:t>
              </a:r>
            </a:p>
          </p:txBody>
        </p:sp>
        <p:sp>
          <p:nvSpPr>
            <p:cNvPr id="63" name="Retângulo 62"/>
            <p:cNvSpPr/>
            <p:nvPr/>
          </p:nvSpPr>
          <p:spPr>
            <a:xfrm>
              <a:off x="10445944" y="3667759"/>
              <a:ext cx="1075487" cy="65066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40%</a:t>
              </a:r>
            </a:p>
          </p:txBody>
        </p:sp>
        <p:sp>
          <p:nvSpPr>
            <p:cNvPr id="64" name="Retângulo 63"/>
            <p:cNvSpPr/>
            <p:nvPr/>
          </p:nvSpPr>
          <p:spPr>
            <a:xfrm>
              <a:off x="10445944" y="4318422"/>
              <a:ext cx="1075487" cy="65066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60%</a:t>
              </a:r>
            </a:p>
          </p:txBody>
        </p:sp>
        <p:sp>
          <p:nvSpPr>
            <p:cNvPr id="65" name="Retângulo 64"/>
            <p:cNvSpPr/>
            <p:nvPr/>
          </p:nvSpPr>
          <p:spPr>
            <a:xfrm>
              <a:off x="10445944" y="4969085"/>
              <a:ext cx="1075487" cy="65066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Más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/>
                  <a:ea typeface="+mn-ea"/>
                  <a:cs typeface="Arial" panose="020B0604020202020204" pitchFamily="34" charset="0"/>
                </a:rPr>
                <a:t> claro 80%</a:t>
              </a:r>
            </a:p>
          </p:txBody>
        </p:sp>
      </p:grpSp>
      <p:sp>
        <p:nvSpPr>
          <p:cNvPr id="66" name="CaixaDeTexto 65"/>
          <p:cNvSpPr txBox="1"/>
          <p:nvPr>
            <p:custDataLst>
              <p:tags r:id="rId3"/>
            </p:custDataLst>
          </p:nvPr>
        </p:nvSpPr>
        <p:spPr>
          <a:xfrm>
            <a:off x="2022992" y="5558737"/>
            <a:ext cx="4023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/>
                <a:ea typeface="+mn-ea"/>
                <a:cs typeface="Arial" panose="020B0604020202020204" pitchFamily="34" charset="0"/>
              </a:rPr>
              <a:t>Usar preferencialmente los colores indicados en este cuadro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3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noProof="0" dirty="0"/>
              <a:t>Forma</a:t>
            </a: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CL" noProof="0" dirty="0"/>
              <a:t>Identidad Visual | </a:t>
            </a:r>
            <a:r>
              <a:rPr lang="es-CL" noProof="0" dirty="0">
                <a:solidFill>
                  <a:schemeClr val="accent6"/>
                </a:solidFill>
              </a:rPr>
              <a:t>Íconos DGA</a:t>
            </a:r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4" name="Retângulo 183"/>
          <p:cNvSpPr/>
          <p:nvPr/>
        </p:nvSpPr>
        <p:spPr>
          <a:xfrm>
            <a:off x="424544" y="1268413"/>
            <a:ext cx="11430906" cy="48244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25400" dir="8100000" algn="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pic>
        <p:nvPicPr>
          <p:cNvPr id="185" name="Imagem 1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633" y="1549331"/>
            <a:ext cx="407928" cy="407928"/>
          </a:xfrm>
          <a:prstGeom prst="rect">
            <a:avLst/>
          </a:prstGeom>
        </p:spPr>
      </p:pic>
      <p:pic>
        <p:nvPicPr>
          <p:cNvPr id="186" name="Imagem 18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633" y="2057299"/>
            <a:ext cx="407928" cy="407928"/>
          </a:xfrm>
          <a:prstGeom prst="rect">
            <a:avLst/>
          </a:prstGeom>
        </p:spPr>
      </p:pic>
      <p:pic>
        <p:nvPicPr>
          <p:cNvPr id="187" name="Imagem 18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633" y="2558702"/>
            <a:ext cx="407928" cy="407928"/>
          </a:xfrm>
          <a:prstGeom prst="rect">
            <a:avLst/>
          </a:prstGeom>
        </p:spPr>
      </p:pic>
      <p:pic>
        <p:nvPicPr>
          <p:cNvPr id="188" name="Imagem 18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633" y="3074787"/>
            <a:ext cx="407928" cy="407928"/>
          </a:xfrm>
          <a:prstGeom prst="rect">
            <a:avLst/>
          </a:prstGeom>
        </p:spPr>
      </p:pic>
      <p:pic>
        <p:nvPicPr>
          <p:cNvPr id="189" name="Imagem 18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633" y="3581613"/>
            <a:ext cx="407928" cy="407928"/>
          </a:xfrm>
          <a:prstGeom prst="rect">
            <a:avLst/>
          </a:prstGeom>
        </p:spPr>
      </p:pic>
      <p:pic>
        <p:nvPicPr>
          <p:cNvPr id="190" name="Imagem 18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633" y="4099365"/>
            <a:ext cx="404790" cy="404790"/>
          </a:xfrm>
          <a:prstGeom prst="rect">
            <a:avLst/>
          </a:prstGeom>
        </p:spPr>
      </p:pic>
      <p:pic>
        <p:nvPicPr>
          <p:cNvPr id="191" name="Imagem 19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633" y="4621118"/>
            <a:ext cx="404790" cy="404790"/>
          </a:xfrm>
          <a:prstGeom prst="rect">
            <a:avLst/>
          </a:prstGeom>
        </p:spPr>
      </p:pic>
      <p:pic>
        <p:nvPicPr>
          <p:cNvPr id="192" name="Imagem 19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49086" y="1549331"/>
            <a:ext cx="407928" cy="407928"/>
          </a:xfrm>
          <a:prstGeom prst="rect">
            <a:avLst/>
          </a:prstGeom>
        </p:spPr>
      </p:pic>
      <p:pic>
        <p:nvPicPr>
          <p:cNvPr id="193" name="Imagem 19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49086" y="2057299"/>
            <a:ext cx="407928" cy="407928"/>
          </a:xfrm>
          <a:prstGeom prst="rect">
            <a:avLst/>
          </a:prstGeom>
        </p:spPr>
      </p:pic>
      <p:pic>
        <p:nvPicPr>
          <p:cNvPr id="194" name="Imagem 19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49086" y="2558702"/>
            <a:ext cx="407928" cy="407928"/>
          </a:xfrm>
          <a:prstGeom prst="rect">
            <a:avLst/>
          </a:prstGeom>
        </p:spPr>
      </p:pic>
      <p:pic>
        <p:nvPicPr>
          <p:cNvPr id="195" name="Imagem 19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49086" y="3074787"/>
            <a:ext cx="407928" cy="407928"/>
          </a:xfrm>
          <a:prstGeom prst="rect">
            <a:avLst/>
          </a:prstGeom>
        </p:spPr>
      </p:pic>
      <p:pic>
        <p:nvPicPr>
          <p:cNvPr id="196" name="Imagem 19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49086" y="3581613"/>
            <a:ext cx="407928" cy="407928"/>
          </a:xfrm>
          <a:prstGeom prst="rect">
            <a:avLst/>
          </a:prstGeom>
        </p:spPr>
      </p:pic>
      <p:pic>
        <p:nvPicPr>
          <p:cNvPr id="197" name="Imagem 19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49086" y="4099365"/>
            <a:ext cx="404790" cy="404790"/>
          </a:xfrm>
          <a:prstGeom prst="rect">
            <a:avLst/>
          </a:prstGeom>
        </p:spPr>
      </p:pic>
      <p:pic>
        <p:nvPicPr>
          <p:cNvPr id="198" name="Imagem 19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45359" y="1549331"/>
            <a:ext cx="407928" cy="407928"/>
          </a:xfrm>
          <a:prstGeom prst="rect">
            <a:avLst/>
          </a:prstGeom>
        </p:spPr>
      </p:pic>
      <p:pic>
        <p:nvPicPr>
          <p:cNvPr id="199" name="Imagem 19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45359" y="2058447"/>
            <a:ext cx="407928" cy="407928"/>
          </a:xfrm>
          <a:prstGeom prst="rect">
            <a:avLst/>
          </a:prstGeom>
        </p:spPr>
      </p:pic>
      <p:pic>
        <p:nvPicPr>
          <p:cNvPr id="200" name="Imagem 19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45359" y="2558702"/>
            <a:ext cx="407928" cy="407928"/>
          </a:xfrm>
          <a:prstGeom prst="rect">
            <a:avLst/>
          </a:prstGeom>
        </p:spPr>
      </p:pic>
      <p:pic>
        <p:nvPicPr>
          <p:cNvPr id="201" name="Imagem 200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45359" y="3074787"/>
            <a:ext cx="407928" cy="407928"/>
          </a:xfrm>
          <a:prstGeom prst="rect">
            <a:avLst/>
          </a:prstGeom>
        </p:spPr>
      </p:pic>
      <p:pic>
        <p:nvPicPr>
          <p:cNvPr id="202" name="Imagem 20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45359" y="3581613"/>
            <a:ext cx="407928" cy="407928"/>
          </a:xfrm>
          <a:prstGeom prst="rect">
            <a:avLst/>
          </a:prstGeom>
        </p:spPr>
      </p:pic>
      <p:pic>
        <p:nvPicPr>
          <p:cNvPr id="203" name="Imagem 20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45359" y="4099365"/>
            <a:ext cx="404790" cy="404790"/>
          </a:xfrm>
          <a:prstGeom prst="rect">
            <a:avLst/>
          </a:prstGeom>
        </p:spPr>
      </p:pic>
      <p:pic>
        <p:nvPicPr>
          <p:cNvPr id="204" name="Imagem 20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45359" y="4621118"/>
            <a:ext cx="404790" cy="404790"/>
          </a:xfrm>
          <a:prstGeom prst="rect">
            <a:avLst/>
          </a:prstGeom>
        </p:spPr>
      </p:pic>
      <p:pic>
        <p:nvPicPr>
          <p:cNvPr id="205" name="Imagem 20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204980" y="1546976"/>
            <a:ext cx="404790" cy="404790"/>
          </a:xfrm>
          <a:prstGeom prst="rect">
            <a:avLst/>
          </a:prstGeom>
        </p:spPr>
      </p:pic>
      <p:pic>
        <p:nvPicPr>
          <p:cNvPr id="206" name="Imagem 20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204980" y="2567617"/>
            <a:ext cx="404790" cy="404790"/>
          </a:xfrm>
          <a:prstGeom prst="rect">
            <a:avLst/>
          </a:prstGeom>
        </p:spPr>
      </p:pic>
      <p:pic>
        <p:nvPicPr>
          <p:cNvPr id="207" name="Imagem 206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1204980" y="2053364"/>
            <a:ext cx="404790" cy="404790"/>
          </a:xfrm>
          <a:prstGeom prst="rect">
            <a:avLst/>
          </a:prstGeom>
        </p:spPr>
      </p:pic>
      <p:pic>
        <p:nvPicPr>
          <p:cNvPr id="208" name="Imagem 207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1204980" y="3077925"/>
            <a:ext cx="404790" cy="404790"/>
          </a:xfrm>
          <a:prstGeom prst="rect">
            <a:avLst/>
          </a:prstGeom>
        </p:spPr>
      </p:pic>
      <p:pic>
        <p:nvPicPr>
          <p:cNvPr id="209" name="Imagem 208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1204980" y="3584751"/>
            <a:ext cx="404790" cy="404790"/>
          </a:xfrm>
          <a:prstGeom prst="rect">
            <a:avLst/>
          </a:prstGeom>
        </p:spPr>
      </p:pic>
      <p:pic>
        <p:nvPicPr>
          <p:cNvPr id="210" name="Imagem 209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1204980" y="4099365"/>
            <a:ext cx="404790" cy="404790"/>
          </a:xfrm>
          <a:prstGeom prst="rect">
            <a:avLst/>
          </a:prstGeom>
        </p:spPr>
      </p:pic>
      <p:pic>
        <p:nvPicPr>
          <p:cNvPr id="211" name="Imagem 210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685439" y="1549331"/>
            <a:ext cx="404790" cy="404790"/>
          </a:xfrm>
          <a:prstGeom prst="rect">
            <a:avLst/>
          </a:prstGeom>
        </p:spPr>
      </p:pic>
      <p:pic>
        <p:nvPicPr>
          <p:cNvPr id="212" name="Imagem 211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689860" y="2057299"/>
            <a:ext cx="404790" cy="404790"/>
          </a:xfrm>
          <a:prstGeom prst="rect">
            <a:avLst/>
          </a:prstGeom>
        </p:spPr>
      </p:pic>
      <p:pic>
        <p:nvPicPr>
          <p:cNvPr id="213" name="Imagem 212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689860" y="2567617"/>
            <a:ext cx="404790" cy="404790"/>
          </a:xfrm>
          <a:prstGeom prst="rect">
            <a:avLst/>
          </a:prstGeom>
        </p:spPr>
      </p:pic>
      <p:pic>
        <p:nvPicPr>
          <p:cNvPr id="214" name="Imagem 213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689860" y="3077925"/>
            <a:ext cx="404790" cy="404790"/>
          </a:xfrm>
          <a:prstGeom prst="rect">
            <a:avLst/>
          </a:prstGeom>
        </p:spPr>
      </p:pic>
      <p:pic>
        <p:nvPicPr>
          <p:cNvPr id="215" name="Imagem 214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689860" y="3584751"/>
            <a:ext cx="404790" cy="404790"/>
          </a:xfrm>
          <a:prstGeom prst="rect">
            <a:avLst/>
          </a:prstGeom>
        </p:spPr>
      </p:pic>
      <p:pic>
        <p:nvPicPr>
          <p:cNvPr id="216" name="Imagem 215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689860" y="4099365"/>
            <a:ext cx="404790" cy="404790"/>
          </a:xfrm>
          <a:prstGeom prst="rect">
            <a:avLst/>
          </a:prstGeom>
        </p:spPr>
      </p:pic>
      <p:pic>
        <p:nvPicPr>
          <p:cNvPr id="217" name="Imagem 216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179330" y="1549331"/>
            <a:ext cx="407928" cy="407928"/>
          </a:xfrm>
          <a:prstGeom prst="rect">
            <a:avLst/>
          </a:prstGeom>
        </p:spPr>
      </p:pic>
      <p:pic>
        <p:nvPicPr>
          <p:cNvPr id="218" name="Imagem 217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179330" y="2057299"/>
            <a:ext cx="407928" cy="407928"/>
          </a:xfrm>
          <a:prstGeom prst="rect">
            <a:avLst/>
          </a:prstGeom>
        </p:spPr>
      </p:pic>
      <p:pic>
        <p:nvPicPr>
          <p:cNvPr id="219" name="Imagem 218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179330" y="2567617"/>
            <a:ext cx="407928" cy="407928"/>
          </a:xfrm>
          <a:prstGeom prst="rect">
            <a:avLst/>
          </a:prstGeom>
        </p:spPr>
      </p:pic>
      <p:pic>
        <p:nvPicPr>
          <p:cNvPr id="220" name="Imagem 21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179330" y="3074787"/>
            <a:ext cx="407928" cy="407928"/>
          </a:xfrm>
          <a:prstGeom prst="rect">
            <a:avLst/>
          </a:prstGeom>
        </p:spPr>
      </p:pic>
      <p:pic>
        <p:nvPicPr>
          <p:cNvPr id="221" name="Imagem 220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179330" y="3581613"/>
            <a:ext cx="407928" cy="407928"/>
          </a:xfrm>
          <a:prstGeom prst="rect">
            <a:avLst/>
          </a:prstGeom>
        </p:spPr>
      </p:pic>
      <p:pic>
        <p:nvPicPr>
          <p:cNvPr id="222" name="Imagem 221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179330" y="4099365"/>
            <a:ext cx="404790" cy="404790"/>
          </a:xfrm>
          <a:prstGeom prst="rect">
            <a:avLst/>
          </a:prstGeom>
        </p:spPr>
      </p:pic>
      <p:pic>
        <p:nvPicPr>
          <p:cNvPr id="223" name="Imagem 222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3672635" y="1549331"/>
            <a:ext cx="407928" cy="407928"/>
          </a:xfrm>
          <a:prstGeom prst="rect">
            <a:avLst/>
          </a:prstGeom>
        </p:spPr>
      </p:pic>
      <p:pic>
        <p:nvPicPr>
          <p:cNvPr id="224" name="Imagem 223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3672635" y="2057299"/>
            <a:ext cx="407928" cy="407928"/>
          </a:xfrm>
          <a:prstGeom prst="rect">
            <a:avLst/>
          </a:prstGeom>
        </p:spPr>
      </p:pic>
      <p:pic>
        <p:nvPicPr>
          <p:cNvPr id="225" name="Imagem 224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3672635" y="2569816"/>
            <a:ext cx="407928" cy="407928"/>
          </a:xfrm>
          <a:prstGeom prst="rect">
            <a:avLst/>
          </a:prstGeom>
        </p:spPr>
      </p:pic>
      <p:pic>
        <p:nvPicPr>
          <p:cNvPr id="226" name="Imagem 225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672635" y="3074787"/>
            <a:ext cx="407928" cy="407928"/>
          </a:xfrm>
          <a:prstGeom prst="rect">
            <a:avLst/>
          </a:prstGeom>
        </p:spPr>
      </p:pic>
      <p:pic>
        <p:nvPicPr>
          <p:cNvPr id="227" name="Imagem 226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672635" y="3581613"/>
            <a:ext cx="407928" cy="407928"/>
          </a:xfrm>
          <a:prstGeom prst="rect">
            <a:avLst/>
          </a:prstGeom>
        </p:spPr>
      </p:pic>
      <p:pic>
        <p:nvPicPr>
          <p:cNvPr id="228" name="Imagem 227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3672635" y="4099365"/>
            <a:ext cx="404790" cy="404790"/>
          </a:xfrm>
          <a:prstGeom prst="rect">
            <a:avLst/>
          </a:prstGeom>
        </p:spPr>
      </p:pic>
      <p:pic>
        <p:nvPicPr>
          <p:cNvPr id="229" name="Imagem 228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3167133" y="1549331"/>
            <a:ext cx="407928" cy="407928"/>
          </a:xfrm>
          <a:prstGeom prst="rect">
            <a:avLst/>
          </a:prstGeom>
        </p:spPr>
      </p:pic>
      <p:pic>
        <p:nvPicPr>
          <p:cNvPr id="230" name="Imagem 229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3167133" y="2057299"/>
            <a:ext cx="407928" cy="407928"/>
          </a:xfrm>
          <a:prstGeom prst="rect">
            <a:avLst/>
          </a:prstGeom>
        </p:spPr>
      </p:pic>
      <p:pic>
        <p:nvPicPr>
          <p:cNvPr id="231" name="Imagem 230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167133" y="3074787"/>
            <a:ext cx="407928" cy="407928"/>
          </a:xfrm>
          <a:prstGeom prst="rect">
            <a:avLst/>
          </a:prstGeom>
        </p:spPr>
      </p:pic>
      <p:pic>
        <p:nvPicPr>
          <p:cNvPr id="232" name="Imagem 231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3167133" y="2571625"/>
            <a:ext cx="407928" cy="407928"/>
          </a:xfrm>
          <a:prstGeom prst="rect">
            <a:avLst/>
          </a:prstGeom>
        </p:spPr>
      </p:pic>
      <p:pic>
        <p:nvPicPr>
          <p:cNvPr id="233" name="Imagem 232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3167133" y="3581613"/>
            <a:ext cx="407928" cy="407928"/>
          </a:xfrm>
          <a:prstGeom prst="rect">
            <a:avLst/>
          </a:prstGeom>
        </p:spPr>
      </p:pic>
      <p:pic>
        <p:nvPicPr>
          <p:cNvPr id="234" name="Imagem 233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3167133" y="4099365"/>
            <a:ext cx="404790" cy="404790"/>
          </a:xfrm>
          <a:prstGeom prst="rect">
            <a:avLst/>
          </a:prstGeom>
        </p:spPr>
      </p:pic>
      <p:pic>
        <p:nvPicPr>
          <p:cNvPr id="235" name="Imagem 234"/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2658700" y="1549331"/>
            <a:ext cx="407928" cy="407928"/>
          </a:xfrm>
          <a:prstGeom prst="rect">
            <a:avLst/>
          </a:prstGeom>
        </p:spPr>
      </p:pic>
      <p:pic>
        <p:nvPicPr>
          <p:cNvPr id="236" name="Imagem 235"/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2658700" y="2057299"/>
            <a:ext cx="407928" cy="407928"/>
          </a:xfrm>
          <a:prstGeom prst="rect">
            <a:avLst/>
          </a:prstGeom>
        </p:spPr>
      </p:pic>
      <p:pic>
        <p:nvPicPr>
          <p:cNvPr id="237" name="Imagem 236"/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2658700" y="2576463"/>
            <a:ext cx="407928" cy="407928"/>
          </a:xfrm>
          <a:prstGeom prst="rect">
            <a:avLst/>
          </a:prstGeom>
        </p:spPr>
      </p:pic>
      <p:pic>
        <p:nvPicPr>
          <p:cNvPr id="238" name="Imagem 237"/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2658700" y="3074787"/>
            <a:ext cx="407928" cy="407928"/>
          </a:xfrm>
          <a:prstGeom prst="rect">
            <a:avLst/>
          </a:prstGeom>
        </p:spPr>
      </p:pic>
      <p:pic>
        <p:nvPicPr>
          <p:cNvPr id="239" name="Imagem 238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658700" y="3581613"/>
            <a:ext cx="407928" cy="407928"/>
          </a:xfrm>
          <a:prstGeom prst="rect">
            <a:avLst/>
          </a:prstGeom>
        </p:spPr>
      </p:pic>
      <p:pic>
        <p:nvPicPr>
          <p:cNvPr id="240" name="Imagem 239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2658700" y="4099365"/>
            <a:ext cx="404790" cy="404790"/>
          </a:xfrm>
          <a:prstGeom prst="rect">
            <a:avLst/>
          </a:prstGeom>
        </p:spPr>
      </p:pic>
      <p:pic>
        <p:nvPicPr>
          <p:cNvPr id="241" name="Imagem 240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2153893" y="2057299"/>
            <a:ext cx="407928" cy="407928"/>
          </a:xfrm>
          <a:prstGeom prst="rect">
            <a:avLst/>
          </a:prstGeom>
        </p:spPr>
      </p:pic>
      <p:pic>
        <p:nvPicPr>
          <p:cNvPr id="242" name="Imagem 241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2153893" y="2559510"/>
            <a:ext cx="407928" cy="407928"/>
          </a:xfrm>
          <a:prstGeom prst="rect">
            <a:avLst/>
          </a:prstGeom>
        </p:spPr>
      </p:pic>
      <p:pic>
        <p:nvPicPr>
          <p:cNvPr id="243" name="Imagem 242"/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2153893" y="3074787"/>
            <a:ext cx="407928" cy="407928"/>
          </a:xfrm>
          <a:prstGeom prst="rect">
            <a:avLst/>
          </a:prstGeom>
        </p:spPr>
      </p:pic>
      <p:pic>
        <p:nvPicPr>
          <p:cNvPr id="244" name="Imagem 243"/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2153893" y="3581613"/>
            <a:ext cx="407928" cy="407928"/>
          </a:xfrm>
          <a:prstGeom prst="rect">
            <a:avLst/>
          </a:prstGeom>
        </p:spPr>
      </p:pic>
      <p:pic>
        <p:nvPicPr>
          <p:cNvPr id="245" name="Imagem 244"/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2155462" y="4099365"/>
            <a:ext cx="404790" cy="404790"/>
          </a:xfrm>
          <a:prstGeom prst="rect">
            <a:avLst/>
          </a:prstGeom>
        </p:spPr>
      </p:pic>
      <p:pic>
        <p:nvPicPr>
          <p:cNvPr id="246" name="Imagem 245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5188410" y="1549331"/>
            <a:ext cx="403200" cy="403200"/>
          </a:xfrm>
          <a:prstGeom prst="rect">
            <a:avLst/>
          </a:prstGeom>
        </p:spPr>
      </p:pic>
      <p:pic>
        <p:nvPicPr>
          <p:cNvPr id="247" name="Imagem 246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5689791" y="1549331"/>
            <a:ext cx="403200" cy="403200"/>
          </a:xfrm>
          <a:prstGeom prst="rect">
            <a:avLst/>
          </a:prstGeom>
        </p:spPr>
      </p:pic>
      <p:pic>
        <p:nvPicPr>
          <p:cNvPr id="248" name="Imagem 247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191172" y="1549331"/>
            <a:ext cx="403200" cy="403200"/>
          </a:xfrm>
          <a:prstGeom prst="rect">
            <a:avLst/>
          </a:prstGeom>
        </p:spPr>
      </p:pic>
      <p:pic>
        <p:nvPicPr>
          <p:cNvPr id="249" name="Imagem 248"/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6692553" y="1549331"/>
            <a:ext cx="403200" cy="403200"/>
          </a:xfrm>
          <a:prstGeom prst="rect">
            <a:avLst/>
          </a:prstGeom>
        </p:spPr>
      </p:pic>
      <p:pic>
        <p:nvPicPr>
          <p:cNvPr id="250" name="Imagem 249"/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7193934" y="1549331"/>
            <a:ext cx="403200" cy="403200"/>
          </a:xfrm>
          <a:prstGeom prst="rect">
            <a:avLst/>
          </a:prstGeom>
        </p:spPr>
      </p:pic>
      <p:pic>
        <p:nvPicPr>
          <p:cNvPr id="251" name="Imagem 250"/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7695315" y="1549331"/>
            <a:ext cx="403200" cy="403200"/>
          </a:xfrm>
          <a:prstGeom prst="rect">
            <a:avLst/>
          </a:prstGeom>
        </p:spPr>
      </p:pic>
      <p:pic>
        <p:nvPicPr>
          <p:cNvPr id="252" name="Imagem 251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8194608" y="1549331"/>
            <a:ext cx="403200" cy="403200"/>
          </a:xfrm>
          <a:prstGeom prst="rect">
            <a:avLst/>
          </a:prstGeom>
        </p:spPr>
      </p:pic>
      <p:pic>
        <p:nvPicPr>
          <p:cNvPr id="253" name="Imagem 252"/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8697993" y="1549331"/>
            <a:ext cx="403200" cy="403200"/>
          </a:xfrm>
          <a:prstGeom prst="rect">
            <a:avLst/>
          </a:prstGeom>
        </p:spPr>
      </p:pic>
      <p:pic>
        <p:nvPicPr>
          <p:cNvPr id="254" name="Imagem 253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9199458" y="1549331"/>
            <a:ext cx="403200" cy="403200"/>
          </a:xfrm>
          <a:prstGeom prst="rect">
            <a:avLst/>
          </a:prstGeom>
        </p:spPr>
      </p:pic>
      <p:pic>
        <p:nvPicPr>
          <p:cNvPr id="255" name="Imagem 254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9700839" y="1549331"/>
            <a:ext cx="403200" cy="403200"/>
          </a:xfrm>
          <a:prstGeom prst="rect">
            <a:avLst/>
          </a:prstGeom>
        </p:spPr>
      </p:pic>
      <p:pic>
        <p:nvPicPr>
          <p:cNvPr id="256" name="Imagem 255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10202220" y="1549331"/>
            <a:ext cx="403200" cy="403200"/>
          </a:xfrm>
          <a:prstGeom prst="rect">
            <a:avLst/>
          </a:prstGeom>
        </p:spPr>
      </p:pic>
      <p:pic>
        <p:nvPicPr>
          <p:cNvPr id="257" name="Imagem 256"/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10703601" y="1549331"/>
            <a:ext cx="403200" cy="403200"/>
          </a:xfrm>
          <a:prstGeom prst="rect">
            <a:avLst/>
          </a:prstGeom>
        </p:spPr>
      </p:pic>
      <p:pic>
        <p:nvPicPr>
          <p:cNvPr id="258" name="Imagem 257"/>
          <p:cNvPicPr>
            <a:picLocks noChangeAspect="1"/>
          </p:cNvPicPr>
          <p:nvPr/>
        </p:nvPicPr>
        <p:blipFill>
          <a:blip r:embed="rId76"/>
          <a:stretch>
            <a:fillRect/>
          </a:stretch>
        </p:blipFill>
        <p:spPr>
          <a:xfrm>
            <a:off x="5192491" y="2057299"/>
            <a:ext cx="403200" cy="403200"/>
          </a:xfrm>
          <a:prstGeom prst="rect">
            <a:avLst/>
          </a:prstGeom>
        </p:spPr>
      </p:pic>
      <p:pic>
        <p:nvPicPr>
          <p:cNvPr id="259" name="Imagem 258"/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5693532" y="2057299"/>
            <a:ext cx="403200" cy="403200"/>
          </a:xfrm>
          <a:prstGeom prst="rect">
            <a:avLst/>
          </a:prstGeom>
        </p:spPr>
      </p:pic>
      <p:pic>
        <p:nvPicPr>
          <p:cNvPr id="260" name="Imagem 259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6194573" y="2057299"/>
            <a:ext cx="403200" cy="403200"/>
          </a:xfrm>
          <a:prstGeom prst="rect">
            <a:avLst/>
          </a:prstGeom>
        </p:spPr>
      </p:pic>
      <p:pic>
        <p:nvPicPr>
          <p:cNvPr id="261" name="Imagem 260"/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6695614" y="2057299"/>
            <a:ext cx="403200" cy="403200"/>
          </a:xfrm>
          <a:prstGeom prst="rect">
            <a:avLst/>
          </a:prstGeom>
        </p:spPr>
      </p:pic>
      <p:pic>
        <p:nvPicPr>
          <p:cNvPr id="262" name="Imagem 261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7196655" y="2057299"/>
            <a:ext cx="403200" cy="403200"/>
          </a:xfrm>
          <a:prstGeom prst="rect">
            <a:avLst/>
          </a:prstGeom>
        </p:spPr>
      </p:pic>
      <p:pic>
        <p:nvPicPr>
          <p:cNvPr id="263" name="Imagem 262"/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7697696" y="2057299"/>
            <a:ext cx="403200" cy="403200"/>
          </a:xfrm>
          <a:prstGeom prst="rect">
            <a:avLst/>
          </a:prstGeom>
        </p:spPr>
      </p:pic>
      <p:pic>
        <p:nvPicPr>
          <p:cNvPr id="264" name="Imagem 263"/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8194608" y="2057299"/>
            <a:ext cx="403200" cy="403200"/>
          </a:xfrm>
          <a:prstGeom prst="rect">
            <a:avLst/>
          </a:prstGeom>
        </p:spPr>
      </p:pic>
      <p:pic>
        <p:nvPicPr>
          <p:cNvPr id="265" name="Imagem 264"/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8697993" y="2057299"/>
            <a:ext cx="403200" cy="403200"/>
          </a:xfrm>
          <a:prstGeom prst="rect">
            <a:avLst/>
          </a:prstGeom>
        </p:spPr>
      </p:pic>
      <p:pic>
        <p:nvPicPr>
          <p:cNvPr id="266" name="Imagem 265"/>
          <p:cNvPicPr>
            <a:picLocks noChangeAspect="1"/>
          </p:cNvPicPr>
          <p:nvPr/>
        </p:nvPicPr>
        <p:blipFill>
          <a:blip r:embed="rId84"/>
          <a:stretch>
            <a:fillRect/>
          </a:stretch>
        </p:blipFill>
        <p:spPr>
          <a:xfrm>
            <a:off x="9200819" y="2057299"/>
            <a:ext cx="403200" cy="403200"/>
          </a:xfrm>
          <a:prstGeom prst="rect">
            <a:avLst/>
          </a:prstGeom>
        </p:spPr>
      </p:pic>
      <p:pic>
        <p:nvPicPr>
          <p:cNvPr id="267" name="Imagem 266"/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9701860" y="2057299"/>
            <a:ext cx="403200" cy="403200"/>
          </a:xfrm>
          <a:prstGeom prst="rect">
            <a:avLst/>
          </a:prstGeom>
        </p:spPr>
      </p:pic>
      <p:pic>
        <p:nvPicPr>
          <p:cNvPr id="268" name="Imagem 267"/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10202901" y="2057299"/>
            <a:ext cx="403200" cy="403200"/>
          </a:xfrm>
          <a:prstGeom prst="rect">
            <a:avLst/>
          </a:prstGeom>
        </p:spPr>
      </p:pic>
      <p:pic>
        <p:nvPicPr>
          <p:cNvPr id="269" name="Imagem 268"/>
          <p:cNvPicPr>
            <a:picLocks noChangeAspect="1"/>
          </p:cNvPicPr>
          <p:nvPr/>
        </p:nvPicPr>
        <p:blipFill>
          <a:blip r:embed="rId87"/>
          <a:stretch>
            <a:fillRect/>
          </a:stretch>
        </p:blipFill>
        <p:spPr>
          <a:xfrm>
            <a:off x="10703942" y="2057299"/>
            <a:ext cx="403200" cy="403200"/>
          </a:xfrm>
          <a:prstGeom prst="rect">
            <a:avLst/>
          </a:prstGeom>
        </p:spPr>
      </p:pic>
      <p:pic>
        <p:nvPicPr>
          <p:cNvPr id="270" name="Imagem 269"/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5192491" y="2567617"/>
            <a:ext cx="403200" cy="403200"/>
          </a:xfrm>
          <a:prstGeom prst="rect">
            <a:avLst/>
          </a:prstGeom>
        </p:spPr>
      </p:pic>
      <p:pic>
        <p:nvPicPr>
          <p:cNvPr id="271" name="Imagem 270"/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5693532" y="2567617"/>
            <a:ext cx="403200" cy="403200"/>
          </a:xfrm>
          <a:prstGeom prst="rect">
            <a:avLst/>
          </a:prstGeom>
        </p:spPr>
      </p:pic>
      <p:pic>
        <p:nvPicPr>
          <p:cNvPr id="272" name="Imagem 271"/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6194573" y="2567617"/>
            <a:ext cx="403200" cy="403200"/>
          </a:xfrm>
          <a:prstGeom prst="rect">
            <a:avLst/>
          </a:prstGeom>
        </p:spPr>
      </p:pic>
      <p:pic>
        <p:nvPicPr>
          <p:cNvPr id="273" name="Imagem 272"/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6695614" y="2567617"/>
            <a:ext cx="403200" cy="403200"/>
          </a:xfrm>
          <a:prstGeom prst="rect">
            <a:avLst/>
          </a:prstGeom>
        </p:spPr>
      </p:pic>
      <p:pic>
        <p:nvPicPr>
          <p:cNvPr id="274" name="Imagem 273"/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7196655" y="2567617"/>
            <a:ext cx="403200" cy="403200"/>
          </a:xfrm>
          <a:prstGeom prst="rect">
            <a:avLst/>
          </a:prstGeom>
        </p:spPr>
      </p:pic>
      <p:pic>
        <p:nvPicPr>
          <p:cNvPr id="275" name="Imagem 274"/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7697696" y="2567617"/>
            <a:ext cx="403200" cy="403200"/>
          </a:xfrm>
          <a:prstGeom prst="rect">
            <a:avLst/>
          </a:prstGeom>
        </p:spPr>
      </p:pic>
      <p:pic>
        <p:nvPicPr>
          <p:cNvPr id="276" name="Imagem 275"/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8194608" y="2567617"/>
            <a:ext cx="403200" cy="403200"/>
          </a:xfrm>
          <a:prstGeom prst="rect">
            <a:avLst/>
          </a:prstGeom>
        </p:spPr>
      </p:pic>
      <p:pic>
        <p:nvPicPr>
          <p:cNvPr id="277" name="Imagem 276"/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8697993" y="2567617"/>
            <a:ext cx="403200" cy="403200"/>
          </a:xfrm>
          <a:prstGeom prst="rect">
            <a:avLst/>
          </a:prstGeom>
        </p:spPr>
      </p:pic>
      <p:pic>
        <p:nvPicPr>
          <p:cNvPr id="278" name="Imagem 277"/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9200819" y="2567617"/>
            <a:ext cx="403200" cy="403200"/>
          </a:xfrm>
          <a:prstGeom prst="rect">
            <a:avLst/>
          </a:prstGeom>
        </p:spPr>
      </p:pic>
      <p:pic>
        <p:nvPicPr>
          <p:cNvPr id="279" name="Imagem 278"/>
          <p:cNvPicPr>
            <a:picLocks noChangeAspect="1"/>
          </p:cNvPicPr>
          <p:nvPr/>
        </p:nvPicPr>
        <p:blipFill>
          <a:blip r:embed="rId97"/>
          <a:stretch>
            <a:fillRect/>
          </a:stretch>
        </p:blipFill>
        <p:spPr>
          <a:xfrm>
            <a:off x="9701860" y="2567617"/>
            <a:ext cx="403200" cy="403200"/>
          </a:xfrm>
          <a:prstGeom prst="rect">
            <a:avLst/>
          </a:prstGeom>
        </p:spPr>
      </p:pic>
      <p:pic>
        <p:nvPicPr>
          <p:cNvPr id="280" name="Imagem 279"/>
          <p:cNvPicPr>
            <a:picLocks noChangeAspect="1"/>
          </p:cNvPicPr>
          <p:nvPr/>
        </p:nvPicPr>
        <p:blipFill>
          <a:blip r:embed="rId98"/>
          <a:stretch>
            <a:fillRect/>
          </a:stretch>
        </p:blipFill>
        <p:spPr>
          <a:xfrm>
            <a:off x="10202901" y="2567617"/>
            <a:ext cx="403200" cy="403200"/>
          </a:xfrm>
          <a:prstGeom prst="rect">
            <a:avLst/>
          </a:prstGeom>
        </p:spPr>
      </p:pic>
      <p:pic>
        <p:nvPicPr>
          <p:cNvPr id="281" name="Imagem 280"/>
          <p:cNvPicPr>
            <a:picLocks noChangeAspect="1"/>
          </p:cNvPicPr>
          <p:nvPr/>
        </p:nvPicPr>
        <p:blipFill>
          <a:blip r:embed="rId99"/>
          <a:stretch>
            <a:fillRect/>
          </a:stretch>
        </p:blipFill>
        <p:spPr>
          <a:xfrm>
            <a:off x="10703942" y="2567617"/>
            <a:ext cx="403200" cy="403200"/>
          </a:xfrm>
          <a:prstGeom prst="rect">
            <a:avLst/>
          </a:prstGeom>
        </p:spPr>
      </p:pic>
      <p:pic>
        <p:nvPicPr>
          <p:cNvPr id="282" name="Imagem 281"/>
          <p:cNvPicPr>
            <a:picLocks noChangeAspect="1"/>
          </p:cNvPicPr>
          <p:nvPr/>
        </p:nvPicPr>
        <p:blipFill>
          <a:blip r:embed="rId100"/>
          <a:stretch>
            <a:fillRect/>
          </a:stretch>
        </p:blipFill>
        <p:spPr>
          <a:xfrm>
            <a:off x="5192491" y="3079515"/>
            <a:ext cx="403200" cy="403200"/>
          </a:xfrm>
          <a:prstGeom prst="rect">
            <a:avLst/>
          </a:prstGeom>
        </p:spPr>
      </p:pic>
      <p:pic>
        <p:nvPicPr>
          <p:cNvPr id="283" name="Imagem 282"/>
          <p:cNvPicPr>
            <a:picLocks noChangeAspect="1"/>
          </p:cNvPicPr>
          <p:nvPr/>
        </p:nvPicPr>
        <p:blipFill>
          <a:blip r:embed="rId101"/>
          <a:stretch>
            <a:fillRect/>
          </a:stretch>
        </p:blipFill>
        <p:spPr>
          <a:xfrm>
            <a:off x="5693532" y="3079515"/>
            <a:ext cx="403200" cy="403200"/>
          </a:xfrm>
          <a:prstGeom prst="rect">
            <a:avLst/>
          </a:prstGeom>
        </p:spPr>
      </p:pic>
      <p:pic>
        <p:nvPicPr>
          <p:cNvPr id="284" name="Imagem 283"/>
          <p:cNvPicPr>
            <a:picLocks noChangeAspect="1"/>
          </p:cNvPicPr>
          <p:nvPr/>
        </p:nvPicPr>
        <p:blipFill>
          <a:blip r:embed="rId102"/>
          <a:stretch>
            <a:fillRect/>
          </a:stretch>
        </p:blipFill>
        <p:spPr>
          <a:xfrm>
            <a:off x="6194573" y="3079515"/>
            <a:ext cx="403200" cy="403200"/>
          </a:xfrm>
          <a:prstGeom prst="rect">
            <a:avLst/>
          </a:prstGeom>
        </p:spPr>
      </p:pic>
      <p:pic>
        <p:nvPicPr>
          <p:cNvPr id="285" name="Imagem 284"/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6695614" y="3079515"/>
            <a:ext cx="403200" cy="403200"/>
          </a:xfrm>
          <a:prstGeom prst="rect">
            <a:avLst/>
          </a:prstGeom>
        </p:spPr>
      </p:pic>
      <p:pic>
        <p:nvPicPr>
          <p:cNvPr id="286" name="Imagem 285"/>
          <p:cNvPicPr>
            <a:picLocks noChangeAspect="1"/>
          </p:cNvPicPr>
          <p:nvPr/>
        </p:nvPicPr>
        <p:blipFill>
          <a:blip r:embed="rId104"/>
          <a:stretch>
            <a:fillRect/>
          </a:stretch>
        </p:blipFill>
        <p:spPr>
          <a:xfrm>
            <a:off x="7196655" y="3079515"/>
            <a:ext cx="403200" cy="403200"/>
          </a:xfrm>
          <a:prstGeom prst="rect">
            <a:avLst/>
          </a:prstGeom>
        </p:spPr>
      </p:pic>
      <p:pic>
        <p:nvPicPr>
          <p:cNvPr id="287" name="Imagem 286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7697696" y="3079515"/>
            <a:ext cx="403200" cy="403200"/>
          </a:xfrm>
          <a:prstGeom prst="rect">
            <a:avLst/>
          </a:prstGeom>
        </p:spPr>
      </p:pic>
      <p:pic>
        <p:nvPicPr>
          <p:cNvPr id="288" name="Imagem 287"/>
          <p:cNvPicPr>
            <a:picLocks noChangeAspect="1"/>
          </p:cNvPicPr>
          <p:nvPr/>
        </p:nvPicPr>
        <p:blipFill>
          <a:blip r:embed="rId106"/>
          <a:stretch>
            <a:fillRect/>
          </a:stretch>
        </p:blipFill>
        <p:spPr>
          <a:xfrm>
            <a:off x="8194608" y="3079515"/>
            <a:ext cx="403200" cy="403200"/>
          </a:xfrm>
          <a:prstGeom prst="rect">
            <a:avLst/>
          </a:prstGeom>
        </p:spPr>
      </p:pic>
      <p:pic>
        <p:nvPicPr>
          <p:cNvPr id="289" name="Imagem 288"/>
          <p:cNvPicPr>
            <a:picLocks noChangeAspect="1"/>
          </p:cNvPicPr>
          <p:nvPr/>
        </p:nvPicPr>
        <p:blipFill>
          <a:blip r:embed="rId107"/>
          <a:stretch>
            <a:fillRect/>
          </a:stretch>
        </p:blipFill>
        <p:spPr>
          <a:xfrm>
            <a:off x="8697993" y="3079515"/>
            <a:ext cx="403200" cy="403200"/>
          </a:xfrm>
          <a:prstGeom prst="rect">
            <a:avLst/>
          </a:prstGeom>
        </p:spPr>
      </p:pic>
      <p:pic>
        <p:nvPicPr>
          <p:cNvPr id="290" name="Imagem 289"/>
          <p:cNvPicPr>
            <a:picLocks noChangeAspect="1"/>
          </p:cNvPicPr>
          <p:nvPr/>
        </p:nvPicPr>
        <p:blipFill>
          <a:blip r:embed="rId108"/>
          <a:stretch>
            <a:fillRect/>
          </a:stretch>
        </p:blipFill>
        <p:spPr>
          <a:xfrm>
            <a:off x="9200819" y="3079515"/>
            <a:ext cx="403200" cy="403200"/>
          </a:xfrm>
          <a:prstGeom prst="rect">
            <a:avLst/>
          </a:prstGeom>
        </p:spPr>
      </p:pic>
      <p:pic>
        <p:nvPicPr>
          <p:cNvPr id="291" name="Imagem 290"/>
          <p:cNvPicPr>
            <a:picLocks noChangeAspect="1"/>
          </p:cNvPicPr>
          <p:nvPr/>
        </p:nvPicPr>
        <p:blipFill>
          <a:blip r:embed="rId109"/>
          <a:stretch>
            <a:fillRect/>
          </a:stretch>
        </p:blipFill>
        <p:spPr>
          <a:xfrm>
            <a:off x="9701860" y="3079515"/>
            <a:ext cx="403200" cy="403200"/>
          </a:xfrm>
          <a:prstGeom prst="rect">
            <a:avLst/>
          </a:prstGeom>
        </p:spPr>
      </p:pic>
      <p:pic>
        <p:nvPicPr>
          <p:cNvPr id="292" name="Imagem 291"/>
          <p:cNvPicPr>
            <a:picLocks noChangeAspect="1"/>
          </p:cNvPicPr>
          <p:nvPr/>
        </p:nvPicPr>
        <p:blipFill>
          <a:blip r:embed="rId110"/>
          <a:stretch>
            <a:fillRect/>
          </a:stretch>
        </p:blipFill>
        <p:spPr>
          <a:xfrm>
            <a:off x="10202901" y="3079515"/>
            <a:ext cx="403200" cy="403200"/>
          </a:xfrm>
          <a:prstGeom prst="rect">
            <a:avLst/>
          </a:prstGeom>
        </p:spPr>
      </p:pic>
      <p:pic>
        <p:nvPicPr>
          <p:cNvPr id="293" name="Imagem 292"/>
          <p:cNvPicPr>
            <a:picLocks noChangeAspect="1"/>
          </p:cNvPicPr>
          <p:nvPr/>
        </p:nvPicPr>
        <p:blipFill>
          <a:blip r:embed="rId111"/>
          <a:stretch>
            <a:fillRect/>
          </a:stretch>
        </p:blipFill>
        <p:spPr>
          <a:xfrm>
            <a:off x="10703942" y="3079515"/>
            <a:ext cx="403200" cy="403200"/>
          </a:xfrm>
          <a:prstGeom prst="rect">
            <a:avLst/>
          </a:prstGeom>
        </p:spPr>
      </p:pic>
      <p:pic>
        <p:nvPicPr>
          <p:cNvPr id="294" name="Imagem 293"/>
          <p:cNvPicPr>
            <a:picLocks noChangeAspect="1"/>
          </p:cNvPicPr>
          <p:nvPr/>
        </p:nvPicPr>
        <p:blipFill>
          <a:blip r:embed="rId112"/>
          <a:stretch>
            <a:fillRect/>
          </a:stretch>
        </p:blipFill>
        <p:spPr>
          <a:xfrm>
            <a:off x="5192491" y="3586341"/>
            <a:ext cx="403200" cy="403200"/>
          </a:xfrm>
          <a:prstGeom prst="rect">
            <a:avLst/>
          </a:prstGeom>
        </p:spPr>
      </p:pic>
      <p:pic>
        <p:nvPicPr>
          <p:cNvPr id="295" name="Imagem 294"/>
          <p:cNvPicPr>
            <a:picLocks noChangeAspect="1"/>
          </p:cNvPicPr>
          <p:nvPr/>
        </p:nvPicPr>
        <p:blipFill>
          <a:blip r:embed="rId113"/>
          <a:stretch>
            <a:fillRect/>
          </a:stretch>
        </p:blipFill>
        <p:spPr>
          <a:xfrm>
            <a:off x="5693532" y="3586341"/>
            <a:ext cx="403200" cy="403200"/>
          </a:xfrm>
          <a:prstGeom prst="rect">
            <a:avLst/>
          </a:prstGeom>
        </p:spPr>
      </p:pic>
      <p:pic>
        <p:nvPicPr>
          <p:cNvPr id="296" name="Imagem 295"/>
          <p:cNvPicPr>
            <a:picLocks noChangeAspect="1"/>
          </p:cNvPicPr>
          <p:nvPr/>
        </p:nvPicPr>
        <p:blipFill>
          <a:blip r:embed="rId114"/>
          <a:stretch>
            <a:fillRect/>
          </a:stretch>
        </p:blipFill>
        <p:spPr>
          <a:xfrm>
            <a:off x="6194573" y="3586341"/>
            <a:ext cx="403200" cy="403200"/>
          </a:xfrm>
          <a:prstGeom prst="rect">
            <a:avLst/>
          </a:prstGeom>
        </p:spPr>
      </p:pic>
      <p:pic>
        <p:nvPicPr>
          <p:cNvPr id="297" name="Imagem 296"/>
          <p:cNvPicPr>
            <a:picLocks noChangeAspect="1"/>
          </p:cNvPicPr>
          <p:nvPr/>
        </p:nvPicPr>
        <p:blipFill>
          <a:blip r:embed="rId115"/>
          <a:stretch>
            <a:fillRect/>
          </a:stretch>
        </p:blipFill>
        <p:spPr>
          <a:xfrm>
            <a:off x="6695614" y="3586341"/>
            <a:ext cx="403200" cy="403200"/>
          </a:xfrm>
          <a:prstGeom prst="rect">
            <a:avLst/>
          </a:prstGeom>
        </p:spPr>
      </p:pic>
      <p:pic>
        <p:nvPicPr>
          <p:cNvPr id="298" name="Imagem 297"/>
          <p:cNvPicPr>
            <a:picLocks noChangeAspect="1"/>
          </p:cNvPicPr>
          <p:nvPr/>
        </p:nvPicPr>
        <p:blipFill>
          <a:blip r:embed="rId116"/>
          <a:stretch>
            <a:fillRect/>
          </a:stretch>
        </p:blipFill>
        <p:spPr>
          <a:xfrm>
            <a:off x="7196655" y="3586341"/>
            <a:ext cx="403200" cy="403200"/>
          </a:xfrm>
          <a:prstGeom prst="rect">
            <a:avLst/>
          </a:prstGeom>
        </p:spPr>
      </p:pic>
      <p:pic>
        <p:nvPicPr>
          <p:cNvPr id="299" name="Imagem 298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7697696" y="3586341"/>
            <a:ext cx="403200" cy="403200"/>
          </a:xfrm>
          <a:prstGeom prst="rect">
            <a:avLst/>
          </a:prstGeom>
        </p:spPr>
      </p:pic>
      <p:pic>
        <p:nvPicPr>
          <p:cNvPr id="300" name="Imagem 299"/>
          <p:cNvPicPr>
            <a:picLocks noChangeAspect="1"/>
          </p:cNvPicPr>
          <p:nvPr/>
        </p:nvPicPr>
        <p:blipFill>
          <a:blip r:embed="rId118"/>
          <a:stretch>
            <a:fillRect/>
          </a:stretch>
        </p:blipFill>
        <p:spPr>
          <a:xfrm>
            <a:off x="8194608" y="3586341"/>
            <a:ext cx="403200" cy="403200"/>
          </a:xfrm>
          <a:prstGeom prst="rect">
            <a:avLst/>
          </a:prstGeom>
        </p:spPr>
      </p:pic>
      <p:pic>
        <p:nvPicPr>
          <p:cNvPr id="301" name="Imagem 300"/>
          <p:cNvPicPr>
            <a:picLocks noChangeAspect="1"/>
          </p:cNvPicPr>
          <p:nvPr/>
        </p:nvPicPr>
        <p:blipFill>
          <a:blip r:embed="rId119"/>
          <a:stretch>
            <a:fillRect/>
          </a:stretch>
        </p:blipFill>
        <p:spPr>
          <a:xfrm>
            <a:off x="8697993" y="3586341"/>
            <a:ext cx="403200" cy="403200"/>
          </a:xfrm>
          <a:prstGeom prst="rect">
            <a:avLst/>
          </a:prstGeom>
        </p:spPr>
      </p:pic>
      <p:pic>
        <p:nvPicPr>
          <p:cNvPr id="302" name="Imagem 301"/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9200819" y="3586341"/>
            <a:ext cx="403200" cy="403200"/>
          </a:xfrm>
          <a:prstGeom prst="rect">
            <a:avLst/>
          </a:prstGeom>
        </p:spPr>
      </p:pic>
      <p:pic>
        <p:nvPicPr>
          <p:cNvPr id="303" name="Imagem 302"/>
          <p:cNvPicPr>
            <a:picLocks noChangeAspect="1"/>
          </p:cNvPicPr>
          <p:nvPr/>
        </p:nvPicPr>
        <p:blipFill>
          <a:blip r:embed="rId121"/>
          <a:stretch>
            <a:fillRect/>
          </a:stretch>
        </p:blipFill>
        <p:spPr>
          <a:xfrm>
            <a:off x="9701860" y="3586341"/>
            <a:ext cx="403200" cy="403200"/>
          </a:xfrm>
          <a:prstGeom prst="rect">
            <a:avLst/>
          </a:prstGeom>
        </p:spPr>
      </p:pic>
      <p:pic>
        <p:nvPicPr>
          <p:cNvPr id="304" name="Imagem 303"/>
          <p:cNvPicPr>
            <a:picLocks noChangeAspect="1"/>
          </p:cNvPicPr>
          <p:nvPr/>
        </p:nvPicPr>
        <p:blipFill>
          <a:blip r:embed="rId122"/>
          <a:stretch>
            <a:fillRect/>
          </a:stretch>
        </p:blipFill>
        <p:spPr>
          <a:xfrm>
            <a:off x="10202901" y="3586341"/>
            <a:ext cx="403200" cy="403200"/>
          </a:xfrm>
          <a:prstGeom prst="rect">
            <a:avLst/>
          </a:prstGeom>
        </p:spPr>
      </p:pic>
      <p:pic>
        <p:nvPicPr>
          <p:cNvPr id="305" name="Imagem 304"/>
          <p:cNvPicPr>
            <a:picLocks noChangeAspect="1"/>
          </p:cNvPicPr>
          <p:nvPr/>
        </p:nvPicPr>
        <p:blipFill>
          <a:blip r:embed="rId123"/>
          <a:stretch>
            <a:fillRect/>
          </a:stretch>
        </p:blipFill>
        <p:spPr>
          <a:xfrm>
            <a:off x="10703942" y="3586341"/>
            <a:ext cx="403200" cy="403200"/>
          </a:xfrm>
          <a:prstGeom prst="rect">
            <a:avLst/>
          </a:prstGeom>
        </p:spPr>
      </p:pic>
      <p:pic>
        <p:nvPicPr>
          <p:cNvPr id="306" name="Imagem 305"/>
          <p:cNvPicPr>
            <a:picLocks noChangeAspect="1"/>
          </p:cNvPicPr>
          <p:nvPr/>
        </p:nvPicPr>
        <p:blipFill>
          <a:blip r:embed="rId124"/>
          <a:stretch>
            <a:fillRect/>
          </a:stretch>
        </p:blipFill>
        <p:spPr>
          <a:xfrm>
            <a:off x="11206570" y="4622708"/>
            <a:ext cx="403200" cy="403200"/>
          </a:xfrm>
          <a:prstGeom prst="rect">
            <a:avLst/>
          </a:prstGeom>
        </p:spPr>
      </p:pic>
      <p:pic>
        <p:nvPicPr>
          <p:cNvPr id="307" name="Imagem 306"/>
          <p:cNvPicPr>
            <a:picLocks noChangeAspect="1"/>
          </p:cNvPicPr>
          <p:nvPr/>
        </p:nvPicPr>
        <p:blipFill>
          <a:blip r:embed="rId125"/>
          <a:stretch>
            <a:fillRect/>
          </a:stretch>
        </p:blipFill>
        <p:spPr>
          <a:xfrm>
            <a:off x="5192491" y="4099365"/>
            <a:ext cx="403200" cy="403200"/>
          </a:xfrm>
          <a:prstGeom prst="rect">
            <a:avLst/>
          </a:prstGeom>
        </p:spPr>
      </p:pic>
      <p:pic>
        <p:nvPicPr>
          <p:cNvPr id="308" name="Imagem 307"/>
          <p:cNvPicPr>
            <a:picLocks noChangeAspect="1"/>
          </p:cNvPicPr>
          <p:nvPr/>
        </p:nvPicPr>
        <p:blipFill>
          <a:blip r:embed="rId126"/>
          <a:stretch>
            <a:fillRect/>
          </a:stretch>
        </p:blipFill>
        <p:spPr>
          <a:xfrm>
            <a:off x="5693532" y="4099365"/>
            <a:ext cx="403200" cy="403200"/>
          </a:xfrm>
          <a:prstGeom prst="rect">
            <a:avLst/>
          </a:prstGeom>
        </p:spPr>
      </p:pic>
      <p:pic>
        <p:nvPicPr>
          <p:cNvPr id="309" name="Imagem 308"/>
          <p:cNvPicPr>
            <a:picLocks noChangeAspect="1"/>
          </p:cNvPicPr>
          <p:nvPr/>
        </p:nvPicPr>
        <p:blipFill>
          <a:blip r:embed="rId127"/>
          <a:stretch>
            <a:fillRect/>
          </a:stretch>
        </p:blipFill>
        <p:spPr>
          <a:xfrm>
            <a:off x="6194573" y="4099365"/>
            <a:ext cx="403200" cy="403200"/>
          </a:xfrm>
          <a:prstGeom prst="rect">
            <a:avLst/>
          </a:prstGeom>
        </p:spPr>
      </p:pic>
      <p:pic>
        <p:nvPicPr>
          <p:cNvPr id="310" name="Imagem 309"/>
          <p:cNvPicPr>
            <a:picLocks noChangeAspect="1"/>
          </p:cNvPicPr>
          <p:nvPr/>
        </p:nvPicPr>
        <p:blipFill>
          <a:blip r:embed="rId128"/>
          <a:stretch>
            <a:fillRect/>
          </a:stretch>
        </p:blipFill>
        <p:spPr>
          <a:xfrm>
            <a:off x="6695614" y="4099365"/>
            <a:ext cx="403200" cy="403200"/>
          </a:xfrm>
          <a:prstGeom prst="rect">
            <a:avLst/>
          </a:prstGeom>
        </p:spPr>
      </p:pic>
      <p:pic>
        <p:nvPicPr>
          <p:cNvPr id="311" name="Imagem 310"/>
          <p:cNvPicPr>
            <a:picLocks noChangeAspect="1"/>
          </p:cNvPicPr>
          <p:nvPr/>
        </p:nvPicPr>
        <p:blipFill>
          <a:blip r:embed="rId129"/>
          <a:stretch>
            <a:fillRect/>
          </a:stretch>
        </p:blipFill>
        <p:spPr>
          <a:xfrm>
            <a:off x="7196655" y="4099365"/>
            <a:ext cx="403200" cy="403200"/>
          </a:xfrm>
          <a:prstGeom prst="rect">
            <a:avLst/>
          </a:prstGeom>
        </p:spPr>
      </p:pic>
      <p:pic>
        <p:nvPicPr>
          <p:cNvPr id="312" name="Imagem 311"/>
          <p:cNvPicPr>
            <a:picLocks noChangeAspect="1"/>
          </p:cNvPicPr>
          <p:nvPr/>
        </p:nvPicPr>
        <p:blipFill>
          <a:blip r:embed="rId130"/>
          <a:stretch>
            <a:fillRect/>
          </a:stretch>
        </p:blipFill>
        <p:spPr>
          <a:xfrm>
            <a:off x="7697696" y="4099365"/>
            <a:ext cx="403200" cy="403200"/>
          </a:xfrm>
          <a:prstGeom prst="rect">
            <a:avLst/>
          </a:prstGeom>
        </p:spPr>
      </p:pic>
      <p:pic>
        <p:nvPicPr>
          <p:cNvPr id="313" name="Imagem 312"/>
          <p:cNvPicPr>
            <a:picLocks noChangeAspect="1"/>
          </p:cNvPicPr>
          <p:nvPr/>
        </p:nvPicPr>
        <p:blipFill>
          <a:blip r:embed="rId131"/>
          <a:stretch>
            <a:fillRect/>
          </a:stretch>
        </p:blipFill>
        <p:spPr>
          <a:xfrm>
            <a:off x="8697993" y="4099365"/>
            <a:ext cx="403200" cy="403200"/>
          </a:xfrm>
          <a:prstGeom prst="rect">
            <a:avLst/>
          </a:prstGeom>
        </p:spPr>
      </p:pic>
      <p:pic>
        <p:nvPicPr>
          <p:cNvPr id="314" name="Imagem 313"/>
          <p:cNvPicPr>
            <a:picLocks noChangeAspect="1"/>
          </p:cNvPicPr>
          <p:nvPr/>
        </p:nvPicPr>
        <p:blipFill>
          <a:blip r:embed="rId132"/>
          <a:stretch>
            <a:fillRect/>
          </a:stretch>
        </p:blipFill>
        <p:spPr>
          <a:xfrm>
            <a:off x="8194608" y="4099365"/>
            <a:ext cx="403200" cy="403200"/>
          </a:xfrm>
          <a:prstGeom prst="rect">
            <a:avLst/>
          </a:prstGeom>
        </p:spPr>
      </p:pic>
      <p:pic>
        <p:nvPicPr>
          <p:cNvPr id="494" name="Imagem 493"/>
          <p:cNvPicPr>
            <a:picLocks noChangeAspect="1"/>
          </p:cNvPicPr>
          <p:nvPr/>
        </p:nvPicPr>
        <p:blipFill>
          <a:blip r:embed="rId133"/>
          <a:stretch>
            <a:fillRect/>
          </a:stretch>
        </p:blipFill>
        <p:spPr>
          <a:xfrm>
            <a:off x="9200819" y="4099365"/>
            <a:ext cx="403200" cy="403200"/>
          </a:xfrm>
          <a:prstGeom prst="rect">
            <a:avLst/>
          </a:prstGeom>
        </p:spPr>
      </p:pic>
      <p:pic>
        <p:nvPicPr>
          <p:cNvPr id="495" name="Imagem 494"/>
          <p:cNvPicPr>
            <a:picLocks noChangeAspect="1"/>
          </p:cNvPicPr>
          <p:nvPr/>
        </p:nvPicPr>
        <p:blipFill>
          <a:blip r:embed="rId134"/>
          <a:stretch>
            <a:fillRect/>
          </a:stretch>
        </p:blipFill>
        <p:spPr>
          <a:xfrm>
            <a:off x="9701860" y="4099365"/>
            <a:ext cx="403200" cy="403200"/>
          </a:xfrm>
          <a:prstGeom prst="rect">
            <a:avLst/>
          </a:prstGeom>
        </p:spPr>
      </p:pic>
      <p:pic>
        <p:nvPicPr>
          <p:cNvPr id="496" name="Imagem 495"/>
          <p:cNvPicPr>
            <a:picLocks noChangeAspect="1"/>
          </p:cNvPicPr>
          <p:nvPr/>
        </p:nvPicPr>
        <p:blipFill>
          <a:blip r:embed="rId135"/>
          <a:stretch>
            <a:fillRect/>
          </a:stretch>
        </p:blipFill>
        <p:spPr>
          <a:xfrm>
            <a:off x="10202901" y="4099365"/>
            <a:ext cx="403200" cy="403200"/>
          </a:xfrm>
          <a:prstGeom prst="rect">
            <a:avLst/>
          </a:prstGeom>
        </p:spPr>
      </p:pic>
      <p:pic>
        <p:nvPicPr>
          <p:cNvPr id="497" name="Imagem 496"/>
          <p:cNvPicPr>
            <a:picLocks noChangeAspect="1"/>
          </p:cNvPicPr>
          <p:nvPr/>
        </p:nvPicPr>
        <p:blipFill>
          <a:blip r:embed="rId136"/>
          <a:stretch>
            <a:fillRect/>
          </a:stretch>
        </p:blipFill>
        <p:spPr>
          <a:xfrm>
            <a:off x="10703942" y="4099365"/>
            <a:ext cx="403200" cy="403200"/>
          </a:xfrm>
          <a:prstGeom prst="rect">
            <a:avLst/>
          </a:prstGeom>
        </p:spPr>
      </p:pic>
      <p:pic>
        <p:nvPicPr>
          <p:cNvPr id="498" name="Imagem 497"/>
          <p:cNvPicPr>
            <a:picLocks noChangeAspect="1"/>
          </p:cNvPicPr>
          <p:nvPr/>
        </p:nvPicPr>
        <p:blipFill>
          <a:blip r:embed="rId137"/>
          <a:stretch>
            <a:fillRect/>
          </a:stretch>
        </p:blipFill>
        <p:spPr>
          <a:xfrm>
            <a:off x="9200819" y="4621118"/>
            <a:ext cx="403200" cy="403200"/>
          </a:xfrm>
          <a:prstGeom prst="rect">
            <a:avLst/>
          </a:prstGeom>
        </p:spPr>
      </p:pic>
      <p:pic>
        <p:nvPicPr>
          <p:cNvPr id="499" name="Imagem 498"/>
          <p:cNvPicPr>
            <a:picLocks noChangeAspect="1"/>
          </p:cNvPicPr>
          <p:nvPr/>
        </p:nvPicPr>
        <p:blipFill>
          <a:blip r:embed="rId138"/>
          <a:stretch>
            <a:fillRect/>
          </a:stretch>
        </p:blipFill>
        <p:spPr>
          <a:xfrm>
            <a:off x="9702257" y="4622708"/>
            <a:ext cx="403200" cy="403200"/>
          </a:xfrm>
          <a:prstGeom prst="rect">
            <a:avLst/>
          </a:prstGeom>
        </p:spPr>
      </p:pic>
      <p:pic>
        <p:nvPicPr>
          <p:cNvPr id="500" name="Imagem 499"/>
          <p:cNvPicPr>
            <a:picLocks noChangeAspect="1"/>
          </p:cNvPicPr>
          <p:nvPr/>
        </p:nvPicPr>
        <p:blipFill>
          <a:blip r:embed="rId139"/>
          <a:stretch>
            <a:fillRect/>
          </a:stretch>
        </p:blipFill>
        <p:spPr>
          <a:xfrm>
            <a:off x="10203695" y="4622708"/>
            <a:ext cx="403200" cy="403200"/>
          </a:xfrm>
          <a:prstGeom prst="rect">
            <a:avLst/>
          </a:prstGeom>
        </p:spPr>
      </p:pic>
      <p:pic>
        <p:nvPicPr>
          <p:cNvPr id="501" name="Imagem 500"/>
          <p:cNvPicPr>
            <a:picLocks noChangeAspect="1"/>
          </p:cNvPicPr>
          <p:nvPr/>
        </p:nvPicPr>
        <p:blipFill>
          <a:blip r:embed="rId140"/>
          <a:stretch>
            <a:fillRect/>
          </a:stretch>
        </p:blipFill>
        <p:spPr>
          <a:xfrm>
            <a:off x="10705133" y="4622708"/>
            <a:ext cx="403200" cy="403200"/>
          </a:xfrm>
          <a:prstGeom prst="rect">
            <a:avLst/>
          </a:prstGeom>
        </p:spPr>
      </p:pic>
      <p:pic>
        <p:nvPicPr>
          <p:cNvPr id="502" name="Imagem 501"/>
          <p:cNvPicPr>
            <a:picLocks noChangeAspect="1"/>
          </p:cNvPicPr>
          <p:nvPr/>
        </p:nvPicPr>
        <p:blipFill>
          <a:blip r:embed="rId141"/>
          <a:stretch>
            <a:fillRect/>
          </a:stretch>
        </p:blipFill>
        <p:spPr>
          <a:xfrm>
            <a:off x="3160160" y="5144461"/>
            <a:ext cx="403200" cy="403200"/>
          </a:xfrm>
          <a:prstGeom prst="rect">
            <a:avLst/>
          </a:prstGeom>
        </p:spPr>
      </p:pic>
      <p:pic>
        <p:nvPicPr>
          <p:cNvPr id="503" name="Imagem 502"/>
          <p:cNvPicPr>
            <a:picLocks noChangeAspect="1"/>
          </p:cNvPicPr>
          <p:nvPr/>
        </p:nvPicPr>
        <p:blipFill>
          <a:blip r:embed="rId142"/>
          <a:stretch>
            <a:fillRect/>
          </a:stretch>
        </p:blipFill>
        <p:spPr>
          <a:xfrm>
            <a:off x="3663270" y="5144461"/>
            <a:ext cx="403200" cy="403200"/>
          </a:xfrm>
          <a:prstGeom prst="rect">
            <a:avLst/>
          </a:prstGeom>
        </p:spPr>
      </p:pic>
      <p:pic>
        <p:nvPicPr>
          <p:cNvPr id="504" name="Imagem 503"/>
          <p:cNvPicPr>
            <a:picLocks noChangeAspect="1"/>
          </p:cNvPicPr>
          <p:nvPr/>
        </p:nvPicPr>
        <p:blipFill>
          <a:blip r:embed="rId143"/>
          <a:stretch>
            <a:fillRect/>
          </a:stretch>
        </p:blipFill>
        <p:spPr>
          <a:xfrm>
            <a:off x="4166380" y="5144461"/>
            <a:ext cx="403200" cy="403200"/>
          </a:xfrm>
          <a:prstGeom prst="rect">
            <a:avLst/>
          </a:prstGeom>
        </p:spPr>
      </p:pic>
      <p:pic>
        <p:nvPicPr>
          <p:cNvPr id="505" name="Imagem 504"/>
          <p:cNvPicPr>
            <a:picLocks noChangeAspect="1"/>
          </p:cNvPicPr>
          <p:nvPr/>
        </p:nvPicPr>
        <p:blipFill>
          <a:blip r:embed="rId144"/>
          <a:stretch>
            <a:fillRect/>
          </a:stretch>
        </p:blipFill>
        <p:spPr>
          <a:xfrm>
            <a:off x="5675710" y="5144461"/>
            <a:ext cx="403200" cy="403200"/>
          </a:xfrm>
          <a:prstGeom prst="rect">
            <a:avLst/>
          </a:prstGeom>
        </p:spPr>
      </p:pic>
      <p:pic>
        <p:nvPicPr>
          <p:cNvPr id="506" name="Imagem 505"/>
          <p:cNvPicPr>
            <a:picLocks noChangeAspect="1"/>
          </p:cNvPicPr>
          <p:nvPr/>
        </p:nvPicPr>
        <p:blipFill>
          <a:blip r:embed="rId145"/>
          <a:stretch>
            <a:fillRect/>
          </a:stretch>
        </p:blipFill>
        <p:spPr>
          <a:xfrm>
            <a:off x="4669490" y="5144461"/>
            <a:ext cx="403200" cy="403200"/>
          </a:xfrm>
          <a:prstGeom prst="rect">
            <a:avLst/>
          </a:prstGeom>
        </p:spPr>
      </p:pic>
      <p:pic>
        <p:nvPicPr>
          <p:cNvPr id="507" name="Imagem 506"/>
          <p:cNvPicPr>
            <a:picLocks noChangeAspect="1"/>
          </p:cNvPicPr>
          <p:nvPr/>
        </p:nvPicPr>
        <p:blipFill>
          <a:blip r:embed="rId146"/>
          <a:stretch>
            <a:fillRect/>
          </a:stretch>
        </p:blipFill>
        <p:spPr>
          <a:xfrm>
            <a:off x="5172600" y="5144461"/>
            <a:ext cx="403200" cy="403200"/>
          </a:xfrm>
          <a:prstGeom prst="rect">
            <a:avLst/>
          </a:prstGeom>
        </p:spPr>
      </p:pic>
      <p:pic>
        <p:nvPicPr>
          <p:cNvPr id="508" name="Imagem 507"/>
          <p:cNvPicPr>
            <a:picLocks noChangeAspect="1"/>
          </p:cNvPicPr>
          <p:nvPr/>
        </p:nvPicPr>
        <p:blipFill>
          <a:blip r:embed="rId147"/>
          <a:stretch>
            <a:fillRect/>
          </a:stretch>
        </p:blipFill>
        <p:spPr>
          <a:xfrm>
            <a:off x="6178820" y="5144461"/>
            <a:ext cx="403200" cy="403200"/>
          </a:xfrm>
          <a:prstGeom prst="rect">
            <a:avLst/>
          </a:prstGeom>
        </p:spPr>
      </p:pic>
      <p:pic>
        <p:nvPicPr>
          <p:cNvPr id="509" name="Imagem 508"/>
          <p:cNvPicPr>
            <a:picLocks noChangeAspect="1"/>
          </p:cNvPicPr>
          <p:nvPr/>
        </p:nvPicPr>
        <p:blipFill>
          <a:blip r:embed="rId148"/>
          <a:stretch>
            <a:fillRect/>
          </a:stretch>
        </p:blipFill>
        <p:spPr>
          <a:xfrm>
            <a:off x="6681930" y="5144461"/>
            <a:ext cx="403200" cy="403200"/>
          </a:xfrm>
          <a:prstGeom prst="rect">
            <a:avLst/>
          </a:prstGeom>
        </p:spPr>
      </p:pic>
      <p:pic>
        <p:nvPicPr>
          <p:cNvPr id="510" name="Imagem 509"/>
          <p:cNvPicPr>
            <a:picLocks noChangeAspect="1"/>
          </p:cNvPicPr>
          <p:nvPr/>
        </p:nvPicPr>
        <p:blipFill>
          <a:blip r:embed="rId149"/>
          <a:stretch>
            <a:fillRect/>
          </a:stretch>
        </p:blipFill>
        <p:spPr>
          <a:xfrm>
            <a:off x="7185040" y="5144461"/>
            <a:ext cx="403200" cy="403200"/>
          </a:xfrm>
          <a:prstGeom prst="rect">
            <a:avLst/>
          </a:prstGeom>
        </p:spPr>
      </p:pic>
      <p:pic>
        <p:nvPicPr>
          <p:cNvPr id="511" name="Imagem 510"/>
          <p:cNvPicPr>
            <a:picLocks noChangeAspect="1"/>
          </p:cNvPicPr>
          <p:nvPr/>
        </p:nvPicPr>
        <p:blipFill>
          <a:blip r:embed="rId150"/>
          <a:stretch>
            <a:fillRect/>
          </a:stretch>
        </p:blipFill>
        <p:spPr>
          <a:xfrm>
            <a:off x="7688150" y="5144461"/>
            <a:ext cx="403200" cy="403200"/>
          </a:xfrm>
          <a:prstGeom prst="rect">
            <a:avLst/>
          </a:prstGeom>
        </p:spPr>
      </p:pic>
      <p:pic>
        <p:nvPicPr>
          <p:cNvPr id="512" name="Imagem 511"/>
          <p:cNvPicPr>
            <a:picLocks noChangeAspect="1"/>
          </p:cNvPicPr>
          <p:nvPr/>
        </p:nvPicPr>
        <p:blipFill>
          <a:blip r:embed="rId151"/>
          <a:stretch>
            <a:fillRect/>
          </a:stretch>
        </p:blipFill>
        <p:spPr>
          <a:xfrm>
            <a:off x="8191260" y="5144461"/>
            <a:ext cx="403200" cy="403200"/>
          </a:xfrm>
          <a:prstGeom prst="rect">
            <a:avLst/>
          </a:prstGeom>
        </p:spPr>
      </p:pic>
      <p:pic>
        <p:nvPicPr>
          <p:cNvPr id="513" name="Imagem 512"/>
          <p:cNvPicPr>
            <a:picLocks noChangeAspect="1"/>
          </p:cNvPicPr>
          <p:nvPr/>
        </p:nvPicPr>
        <p:blipFill>
          <a:blip r:embed="rId152"/>
          <a:stretch>
            <a:fillRect/>
          </a:stretch>
        </p:blipFill>
        <p:spPr>
          <a:xfrm>
            <a:off x="8694370" y="5144461"/>
            <a:ext cx="403200" cy="403200"/>
          </a:xfrm>
          <a:prstGeom prst="rect">
            <a:avLst/>
          </a:prstGeom>
        </p:spPr>
      </p:pic>
      <p:pic>
        <p:nvPicPr>
          <p:cNvPr id="514" name="Imagem 513"/>
          <p:cNvPicPr>
            <a:picLocks noChangeAspect="1"/>
          </p:cNvPicPr>
          <p:nvPr/>
        </p:nvPicPr>
        <p:blipFill>
          <a:blip r:embed="rId153"/>
          <a:stretch>
            <a:fillRect/>
          </a:stretch>
        </p:blipFill>
        <p:spPr>
          <a:xfrm>
            <a:off x="9197480" y="5144461"/>
            <a:ext cx="403200" cy="403200"/>
          </a:xfrm>
          <a:prstGeom prst="rect">
            <a:avLst/>
          </a:prstGeom>
        </p:spPr>
      </p:pic>
      <p:pic>
        <p:nvPicPr>
          <p:cNvPr id="515" name="Imagem 514"/>
          <p:cNvPicPr>
            <a:picLocks noChangeAspect="1"/>
          </p:cNvPicPr>
          <p:nvPr/>
        </p:nvPicPr>
        <p:blipFill>
          <a:blip r:embed="rId154"/>
          <a:stretch>
            <a:fillRect/>
          </a:stretch>
        </p:blipFill>
        <p:spPr>
          <a:xfrm>
            <a:off x="9700590" y="5144461"/>
            <a:ext cx="403200" cy="403200"/>
          </a:xfrm>
          <a:prstGeom prst="rect">
            <a:avLst/>
          </a:prstGeom>
        </p:spPr>
      </p:pic>
      <p:pic>
        <p:nvPicPr>
          <p:cNvPr id="516" name="Imagem 515"/>
          <p:cNvPicPr>
            <a:picLocks noChangeAspect="1"/>
          </p:cNvPicPr>
          <p:nvPr/>
        </p:nvPicPr>
        <p:blipFill>
          <a:blip r:embed="rId155"/>
          <a:stretch>
            <a:fillRect/>
          </a:stretch>
        </p:blipFill>
        <p:spPr>
          <a:xfrm>
            <a:off x="10203695" y="5144461"/>
            <a:ext cx="403200" cy="403200"/>
          </a:xfrm>
          <a:prstGeom prst="rect">
            <a:avLst/>
          </a:prstGeom>
        </p:spPr>
      </p:pic>
      <p:pic>
        <p:nvPicPr>
          <p:cNvPr id="517" name="Imagem 516"/>
          <p:cNvPicPr>
            <a:picLocks noChangeAspect="1"/>
          </p:cNvPicPr>
          <p:nvPr/>
        </p:nvPicPr>
        <p:blipFill>
          <a:blip r:embed="rId156"/>
          <a:stretch>
            <a:fillRect/>
          </a:stretch>
        </p:blipFill>
        <p:spPr>
          <a:xfrm>
            <a:off x="1650316" y="4621118"/>
            <a:ext cx="403200" cy="403200"/>
          </a:xfrm>
          <a:prstGeom prst="rect">
            <a:avLst/>
          </a:prstGeom>
        </p:spPr>
      </p:pic>
      <p:pic>
        <p:nvPicPr>
          <p:cNvPr id="518" name="Imagem 517"/>
          <p:cNvPicPr>
            <a:picLocks noChangeAspect="1"/>
          </p:cNvPicPr>
          <p:nvPr/>
        </p:nvPicPr>
        <p:blipFill>
          <a:blip r:embed="rId157"/>
          <a:stretch>
            <a:fillRect/>
          </a:stretch>
        </p:blipFill>
        <p:spPr>
          <a:xfrm>
            <a:off x="2153683" y="4621118"/>
            <a:ext cx="403200" cy="403200"/>
          </a:xfrm>
          <a:prstGeom prst="rect">
            <a:avLst/>
          </a:prstGeom>
        </p:spPr>
      </p:pic>
      <p:pic>
        <p:nvPicPr>
          <p:cNvPr id="519" name="Imagem 518"/>
          <p:cNvPicPr>
            <a:picLocks noChangeAspect="1"/>
          </p:cNvPicPr>
          <p:nvPr/>
        </p:nvPicPr>
        <p:blipFill>
          <a:blip r:embed="rId158"/>
          <a:stretch>
            <a:fillRect/>
          </a:stretch>
        </p:blipFill>
        <p:spPr>
          <a:xfrm>
            <a:off x="2657050" y="4621118"/>
            <a:ext cx="403200" cy="403200"/>
          </a:xfrm>
          <a:prstGeom prst="rect">
            <a:avLst/>
          </a:prstGeom>
        </p:spPr>
      </p:pic>
      <p:pic>
        <p:nvPicPr>
          <p:cNvPr id="520" name="Imagem 519"/>
          <p:cNvPicPr>
            <a:picLocks noChangeAspect="1"/>
          </p:cNvPicPr>
          <p:nvPr/>
        </p:nvPicPr>
        <p:blipFill>
          <a:blip r:embed="rId159"/>
          <a:stretch>
            <a:fillRect/>
          </a:stretch>
        </p:blipFill>
        <p:spPr>
          <a:xfrm>
            <a:off x="3160417" y="4621118"/>
            <a:ext cx="403200" cy="403200"/>
          </a:xfrm>
          <a:prstGeom prst="rect">
            <a:avLst/>
          </a:prstGeom>
        </p:spPr>
      </p:pic>
      <p:pic>
        <p:nvPicPr>
          <p:cNvPr id="521" name="Imagem 520"/>
          <p:cNvPicPr>
            <a:picLocks noChangeAspect="1"/>
          </p:cNvPicPr>
          <p:nvPr/>
        </p:nvPicPr>
        <p:blipFill>
          <a:blip r:embed="rId160"/>
          <a:stretch>
            <a:fillRect/>
          </a:stretch>
        </p:blipFill>
        <p:spPr>
          <a:xfrm>
            <a:off x="3663784" y="4621118"/>
            <a:ext cx="403200" cy="403200"/>
          </a:xfrm>
          <a:prstGeom prst="rect">
            <a:avLst/>
          </a:prstGeom>
        </p:spPr>
      </p:pic>
      <p:pic>
        <p:nvPicPr>
          <p:cNvPr id="522" name="Imagem 521"/>
          <p:cNvPicPr>
            <a:picLocks noChangeAspect="1"/>
          </p:cNvPicPr>
          <p:nvPr/>
        </p:nvPicPr>
        <p:blipFill>
          <a:blip r:embed="rId161"/>
          <a:stretch>
            <a:fillRect/>
          </a:stretch>
        </p:blipFill>
        <p:spPr>
          <a:xfrm>
            <a:off x="4167151" y="4621118"/>
            <a:ext cx="403200" cy="403200"/>
          </a:xfrm>
          <a:prstGeom prst="rect">
            <a:avLst/>
          </a:prstGeom>
        </p:spPr>
      </p:pic>
      <p:pic>
        <p:nvPicPr>
          <p:cNvPr id="523" name="Imagem 522"/>
          <p:cNvPicPr>
            <a:picLocks noChangeAspect="1"/>
          </p:cNvPicPr>
          <p:nvPr/>
        </p:nvPicPr>
        <p:blipFill>
          <a:blip r:embed="rId162"/>
          <a:stretch>
            <a:fillRect/>
          </a:stretch>
        </p:blipFill>
        <p:spPr>
          <a:xfrm>
            <a:off x="4670518" y="4621118"/>
            <a:ext cx="403200" cy="403200"/>
          </a:xfrm>
          <a:prstGeom prst="rect">
            <a:avLst/>
          </a:prstGeom>
        </p:spPr>
      </p:pic>
      <p:pic>
        <p:nvPicPr>
          <p:cNvPr id="524" name="Imagem 523"/>
          <p:cNvPicPr>
            <a:picLocks noChangeAspect="1"/>
          </p:cNvPicPr>
          <p:nvPr/>
        </p:nvPicPr>
        <p:blipFill>
          <a:blip r:embed="rId163"/>
          <a:stretch>
            <a:fillRect/>
          </a:stretch>
        </p:blipFill>
        <p:spPr>
          <a:xfrm>
            <a:off x="5173885" y="4621118"/>
            <a:ext cx="403200" cy="403200"/>
          </a:xfrm>
          <a:prstGeom prst="rect">
            <a:avLst/>
          </a:prstGeom>
        </p:spPr>
      </p:pic>
      <p:pic>
        <p:nvPicPr>
          <p:cNvPr id="525" name="Imagem 524"/>
          <p:cNvPicPr>
            <a:picLocks noChangeAspect="1"/>
          </p:cNvPicPr>
          <p:nvPr/>
        </p:nvPicPr>
        <p:blipFill>
          <a:blip r:embed="rId164"/>
          <a:stretch>
            <a:fillRect/>
          </a:stretch>
        </p:blipFill>
        <p:spPr>
          <a:xfrm>
            <a:off x="5677252" y="4621118"/>
            <a:ext cx="403200" cy="403200"/>
          </a:xfrm>
          <a:prstGeom prst="rect">
            <a:avLst/>
          </a:prstGeom>
        </p:spPr>
      </p:pic>
      <p:pic>
        <p:nvPicPr>
          <p:cNvPr id="526" name="Imagem 525"/>
          <p:cNvPicPr>
            <a:picLocks noChangeAspect="1"/>
          </p:cNvPicPr>
          <p:nvPr/>
        </p:nvPicPr>
        <p:blipFill>
          <a:blip r:embed="rId165"/>
          <a:stretch>
            <a:fillRect/>
          </a:stretch>
        </p:blipFill>
        <p:spPr>
          <a:xfrm>
            <a:off x="6180619" y="4621118"/>
            <a:ext cx="403200" cy="403200"/>
          </a:xfrm>
          <a:prstGeom prst="rect">
            <a:avLst/>
          </a:prstGeom>
        </p:spPr>
      </p:pic>
      <p:pic>
        <p:nvPicPr>
          <p:cNvPr id="527" name="Imagem 526"/>
          <p:cNvPicPr>
            <a:picLocks noChangeAspect="1"/>
          </p:cNvPicPr>
          <p:nvPr/>
        </p:nvPicPr>
        <p:blipFill>
          <a:blip r:embed="rId166"/>
          <a:stretch>
            <a:fillRect/>
          </a:stretch>
        </p:blipFill>
        <p:spPr>
          <a:xfrm>
            <a:off x="6683986" y="4621118"/>
            <a:ext cx="403200" cy="403200"/>
          </a:xfrm>
          <a:prstGeom prst="rect">
            <a:avLst/>
          </a:prstGeom>
        </p:spPr>
      </p:pic>
      <p:pic>
        <p:nvPicPr>
          <p:cNvPr id="528" name="Imagem 527"/>
          <p:cNvPicPr>
            <a:picLocks noChangeAspect="1"/>
          </p:cNvPicPr>
          <p:nvPr/>
        </p:nvPicPr>
        <p:blipFill>
          <a:blip r:embed="rId167"/>
          <a:stretch>
            <a:fillRect/>
          </a:stretch>
        </p:blipFill>
        <p:spPr>
          <a:xfrm>
            <a:off x="7187353" y="4621118"/>
            <a:ext cx="403200" cy="403200"/>
          </a:xfrm>
          <a:prstGeom prst="rect">
            <a:avLst/>
          </a:prstGeom>
        </p:spPr>
      </p:pic>
      <p:pic>
        <p:nvPicPr>
          <p:cNvPr id="529" name="Imagem 528"/>
          <p:cNvPicPr>
            <a:picLocks noChangeAspect="1"/>
          </p:cNvPicPr>
          <p:nvPr/>
        </p:nvPicPr>
        <p:blipFill>
          <a:blip r:embed="rId168"/>
          <a:stretch>
            <a:fillRect/>
          </a:stretch>
        </p:blipFill>
        <p:spPr>
          <a:xfrm>
            <a:off x="7690720" y="4621118"/>
            <a:ext cx="403200" cy="403200"/>
          </a:xfrm>
          <a:prstGeom prst="rect">
            <a:avLst/>
          </a:prstGeom>
        </p:spPr>
      </p:pic>
      <p:pic>
        <p:nvPicPr>
          <p:cNvPr id="530" name="Imagem 529"/>
          <p:cNvPicPr>
            <a:picLocks noChangeAspect="1"/>
          </p:cNvPicPr>
          <p:nvPr/>
        </p:nvPicPr>
        <p:blipFill>
          <a:blip r:embed="rId169"/>
          <a:stretch>
            <a:fillRect/>
          </a:stretch>
        </p:blipFill>
        <p:spPr>
          <a:xfrm>
            <a:off x="8194087" y="4621118"/>
            <a:ext cx="403200" cy="403200"/>
          </a:xfrm>
          <a:prstGeom prst="rect">
            <a:avLst/>
          </a:prstGeom>
        </p:spPr>
      </p:pic>
      <p:pic>
        <p:nvPicPr>
          <p:cNvPr id="531" name="Imagem 530"/>
          <p:cNvPicPr>
            <a:picLocks noChangeAspect="1"/>
          </p:cNvPicPr>
          <p:nvPr/>
        </p:nvPicPr>
        <p:blipFill>
          <a:blip r:embed="rId170"/>
          <a:stretch>
            <a:fillRect/>
          </a:stretch>
        </p:blipFill>
        <p:spPr>
          <a:xfrm>
            <a:off x="8697454" y="4621118"/>
            <a:ext cx="403200" cy="403200"/>
          </a:xfrm>
          <a:prstGeom prst="rect">
            <a:avLst/>
          </a:prstGeom>
        </p:spPr>
      </p:pic>
      <p:pic>
        <p:nvPicPr>
          <p:cNvPr id="532" name="Imagem 531"/>
          <p:cNvPicPr>
            <a:picLocks noChangeAspect="1"/>
          </p:cNvPicPr>
          <p:nvPr/>
        </p:nvPicPr>
        <p:blipFill>
          <a:blip r:embed="rId171"/>
          <a:stretch>
            <a:fillRect/>
          </a:stretch>
        </p:blipFill>
        <p:spPr>
          <a:xfrm>
            <a:off x="641633" y="5143190"/>
            <a:ext cx="403200" cy="403200"/>
          </a:xfrm>
          <a:prstGeom prst="rect">
            <a:avLst/>
          </a:prstGeom>
        </p:spPr>
      </p:pic>
      <p:pic>
        <p:nvPicPr>
          <p:cNvPr id="533" name="Imagem 532"/>
          <p:cNvPicPr>
            <a:picLocks noChangeAspect="1"/>
          </p:cNvPicPr>
          <p:nvPr/>
        </p:nvPicPr>
        <p:blipFill>
          <a:blip r:embed="rId172"/>
          <a:stretch>
            <a:fillRect/>
          </a:stretch>
        </p:blipFill>
        <p:spPr>
          <a:xfrm>
            <a:off x="1145487" y="5143190"/>
            <a:ext cx="403200" cy="403200"/>
          </a:xfrm>
          <a:prstGeom prst="rect">
            <a:avLst/>
          </a:prstGeom>
        </p:spPr>
      </p:pic>
      <p:pic>
        <p:nvPicPr>
          <p:cNvPr id="534" name="Imagem 533"/>
          <p:cNvPicPr>
            <a:picLocks noChangeAspect="1"/>
          </p:cNvPicPr>
          <p:nvPr/>
        </p:nvPicPr>
        <p:blipFill>
          <a:blip r:embed="rId173"/>
          <a:stretch>
            <a:fillRect/>
          </a:stretch>
        </p:blipFill>
        <p:spPr>
          <a:xfrm>
            <a:off x="1649341" y="5143190"/>
            <a:ext cx="403200" cy="403200"/>
          </a:xfrm>
          <a:prstGeom prst="rect">
            <a:avLst/>
          </a:prstGeom>
        </p:spPr>
      </p:pic>
      <p:pic>
        <p:nvPicPr>
          <p:cNvPr id="535" name="Imagem 534"/>
          <p:cNvPicPr>
            <a:picLocks noChangeAspect="1"/>
          </p:cNvPicPr>
          <p:nvPr/>
        </p:nvPicPr>
        <p:blipFill>
          <a:blip r:embed="rId174"/>
          <a:stretch>
            <a:fillRect/>
          </a:stretch>
        </p:blipFill>
        <p:spPr>
          <a:xfrm>
            <a:off x="2153195" y="5143190"/>
            <a:ext cx="403200" cy="403200"/>
          </a:xfrm>
          <a:prstGeom prst="rect">
            <a:avLst/>
          </a:prstGeom>
        </p:spPr>
      </p:pic>
      <p:pic>
        <p:nvPicPr>
          <p:cNvPr id="536" name="Imagem 535"/>
          <p:cNvPicPr>
            <a:picLocks noChangeAspect="1"/>
          </p:cNvPicPr>
          <p:nvPr/>
        </p:nvPicPr>
        <p:blipFill>
          <a:blip r:embed="rId175"/>
          <a:stretch>
            <a:fillRect/>
          </a:stretch>
        </p:blipFill>
        <p:spPr>
          <a:xfrm>
            <a:off x="2657050" y="5143190"/>
            <a:ext cx="403200" cy="403200"/>
          </a:xfrm>
          <a:prstGeom prst="rect">
            <a:avLst/>
          </a:prstGeom>
        </p:spPr>
      </p:pic>
      <p:grpSp>
        <p:nvGrpSpPr>
          <p:cNvPr id="537" name="Group 4"/>
          <p:cNvGrpSpPr>
            <a:grpSpLocks noChangeAspect="1"/>
          </p:cNvGrpSpPr>
          <p:nvPr/>
        </p:nvGrpSpPr>
        <p:grpSpPr bwMode="auto">
          <a:xfrm>
            <a:off x="2154240" y="1549402"/>
            <a:ext cx="409575" cy="409576"/>
            <a:chOff x="1357" y="976"/>
            <a:chExt cx="258" cy="258"/>
          </a:xfrm>
        </p:grpSpPr>
        <p:sp>
          <p:nvSpPr>
            <p:cNvPr id="5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1357" y="976"/>
              <a:ext cx="257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+mn-cs"/>
              </a:endParaRPr>
            </a:p>
          </p:txBody>
        </p:sp>
        <p:sp>
          <p:nvSpPr>
            <p:cNvPr id="539" name="Freeform 5"/>
            <p:cNvSpPr>
              <a:spLocks noEditPoints="1"/>
            </p:cNvSpPr>
            <p:nvPr/>
          </p:nvSpPr>
          <p:spPr bwMode="auto">
            <a:xfrm>
              <a:off x="1357" y="976"/>
              <a:ext cx="258" cy="258"/>
            </a:xfrm>
            <a:custGeom>
              <a:avLst/>
              <a:gdLst>
                <a:gd name="T0" fmla="*/ 2104 w 2524"/>
                <a:gd name="T1" fmla="*/ 0 h 2523"/>
                <a:gd name="T2" fmla="*/ 2104 w 2524"/>
                <a:gd name="T3" fmla="*/ 0 h 2523"/>
                <a:gd name="T4" fmla="*/ 420 w 2524"/>
                <a:gd name="T5" fmla="*/ 0 h 2523"/>
                <a:gd name="T6" fmla="*/ 0 w 2524"/>
                <a:gd name="T7" fmla="*/ 419 h 2523"/>
                <a:gd name="T8" fmla="*/ 0 w 2524"/>
                <a:gd name="T9" fmla="*/ 2103 h 2523"/>
                <a:gd name="T10" fmla="*/ 420 w 2524"/>
                <a:gd name="T11" fmla="*/ 2523 h 2523"/>
                <a:gd name="T12" fmla="*/ 2104 w 2524"/>
                <a:gd name="T13" fmla="*/ 2523 h 2523"/>
                <a:gd name="T14" fmla="*/ 2524 w 2524"/>
                <a:gd name="T15" fmla="*/ 2103 h 2523"/>
                <a:gd name="T16" fmla="*/ 2524 w 2524"/>
                <a:gd name="T17" fmla="*/ 419 h 2523"/>
                <a:gd name="T18" fmla="*/ 2104 w 2524"/>
                <a:gd name="T19" fmla="*/ 0 h 2523"/>
                <a:gd name="T20" fmla="*/ 2104 w 2524"/>
                <a:gd name="T21" fmla="*/ 125 h 2523"/>
                <a:gd name="T22" fmla="*/ 2104 w 2524"/>
                <a:gd name="T23" fmla="*/ 125 h 2523"/>
                <a:gd name="T24" fmla="*/ 2311 w 2524"/>
                <a:gd name="T25" fmla="*/ 212 h 2523"/>
                <a:gd name="T26" fmla="*/ 2398 w 2524"/>
                <a:gd name="T27" fmla="*/ 419 h 2523"/>
                <a:gd name="T28" fmla="*/ 2398 w 2524"/>
                <a:gd name="T29" fmla="*/ 2103 h 2523"/>
                <a:gd name="T30" fmla="*/ 2311 w 2524"/>
                <a:gd name="T31" fmla="*/ 2311 h 2523"/>
                <a:gd name="T32" fmla="*/ 2104 w 2524"/>
                <a:gd name="T33" fmla="*/ 2397 h 2523"/>
                <a:gd name="T34" fmla="*/ 420 w 2524"/>
                <a:gd name="T35" fmla="*/ 2397 h 2523"/>
                <a:gd name="T36" fmla="*/ 212 w 2524"/>
                <a:gd name="T37" fmla="*/ 2311 h 2523"/>
                <a:gd name="T38" fmla="*/ 126 w 2524"/>
                <a:gd name="T39" fmla="*/ 2103 h 2523"/>
                <a:gd name="T40" fmla="*/ 126 w 2524"/>
                <a:gd name="T41" fmla="*/ 419 h 2523"/>
                <a:gd name="T42" fmla="*/ 212 w 2524"/>
                <a:gd name="T43" fmla="*/ 212 h 2523"/>
                <a:gd name="T44" fmla="*/ 420 w 2524"/>
                <a:gd name="T45" fmla="*/ 125 h 2523"/>
                <a:gd name="T46" fmla="*/ 2104 w 2524"/>
                <a:gd name="T47" fmla="*/ 125 h 2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24" h="2523">
                  <a:moveTo>
                    <a:pt x="2104" y="0"/>
                  </a:moveTo>
                  <a:lnTo>
                    <a:pt x="2104" y="0"/>
                  </a:lnTo>
                  <a:lnTo>
                    <a:pt x="420" y="0"/>
                  </a:lnTo>
                  <a:cubicBezTo>
                    <a:pt x="189" y="0"/>
                    <a:pt x="0" y="188"/>
                    <a:pt x="0" y="419"/>
                  </a:cubicBezTo>
                  <a:lnTo>
                    <a:pt x="0" y="2103"/>
                  </a:lnTo>
                  <a:cubicBezTo>
                    <a:pt x="0" y="2334"/>
                    <a:pt x="189" y="2523"/>
                    <a:pt x="420" y="2523"/>
                  </a:cubicBezTo>
                  <a:lnTo>
                    <a:pt x="2104" y="2523"/>
                  </a:lnTo>
                  <a:cubicBezTo>
                    <a:pt x="2335" y="2523"/>
                    <a:pt x="2524" y="2334"/>
                    <a:pt x="2524" y="2103"/>
                  </a:cubicBezTo>
                  <a:lnTo>
                    <a:pt x="2524" y="419"/>
                  </a:lnTo>
                  <a:cubicBezTo>
                    <a:pt x="2524" y="188"/>
                    <a:pt x="2335" y="0"/>
                    <a:pt x="2104" y="0"/>
                  </a:cubicBezTo>
                  <a:close/>
                  <a:moveTo>
                    <a:pt x="2104" y="125"/>
                  </a:moveTo>
                  <a:lnTo>
                    <a:pt x="2104" y="125"/>
                  </a:lnTo>
                  <a:cubicBezTo>
                    <a:pt x="2182" y="125"/>
                    <a:pt x="2256" y="156"/>
                    <a:pt x="2311" y="212"/>
                  </a:cubicBezTo>
                  <a:cubicBezTo>
                    <a:pt x="2367" y="267"/>
                    <a:pt x="2398" y="341"/>
                    <a:pt x="2398" y="419"/>
                  </a:cubicBezTo>
                  <a:lnTo>
                    <a:pt x="2398" y="2103"/>
                  </a:lnTo>
                  <a:cubicBezTo>
                    <a:pt x="2398" y="2181"/>
                    <a:pt x="2367" y="2255"/>
                    <a:pt x="2311" y="2311"/>
                  </a:cubicBezTo>
                  <a:cubicBezTo>
                    <a:pt x="2256" y="2366"/>
                    <a:pt x="2182" y="2397"/>
                    <a:pt x="2104" y="2397"/>
                  </a:cubicBezTo>
                  <a:lnTo>
                    <a:pt x="420" y="2397"/>
                  </a:lnTo>
                  <a:cubicBezTo>
                    <a:pt x="342" y="2397"/>
                    <a:pt x="268" y="2366"/>
                    <a:pt x="212" y="2311"/>
                  </a:cubicBezTo>
                  <a:cubicBezTo>
                    <a:pt x="157" y="2255"/>
                    <a:pt x="126" y="2181"/>
                    <a:pt x="126" y="2103"/>
                  </a:cubicBezTo>
                  <a:lnTo>
                    <a:pt x="126" y="419"/>
                  </a:lnTo>
                  <a:cubicBezTo>
                    <a:pt x="126" y="341"/>
                    <a:pt x="157" y="267"/>
                    <a:pt x="212" y="212"/>
                  </a:cubicBezTo>
                  <a:cubicBezTo>
                    <a:pt x="268" y="156"/>
                    <a:pt x="342" y="125"/>
                    <a:pt x="420" y="125"/>
                  </a:cubicBezTo>
                  <a:lnTo>
                    <a:pt x="2104" y="125"/>
                  </a:lnTo>
                  <a:close/>
                </a:path>
              </a:pathLst>
            </a:custGeom>
            <a:solidFill>
              <a:srgbClr val="6F6F6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+mn-cs"/>
              </a:endParaRPr>
            </a:p>
          </p:txBody>
        </p:sp>
        <p:sp>
          <p:nvSpPr>
            <p:cNvPr id="540" name="Freeform 6"/>
            <p:cNvSpPr>
              <a:spLocks/>
            </p:cNvSpPr>
            <p:nvPr/>
          </p:nvSpPr>
          <p:spPr bwMode="auto">
            <a:xfrm>
              <a:off x="1505" y="1047"/>
              <a:ext cx="58" cy="58"/>
            </a:xfrm>
            <a:custGeom>
              <a:avLst/>
              <a:gdLst>
                <a:gd name="T0" fmla="*/ 505 w 568"/>
                <a:gd name="T1" fmla="*/ 568 h 568"/>
                <a:gd name="T2" fmla="*/ 505 w 568"/>
                <a:gd name="T3" fmla="*/ 568 h 568"/>
                <a:gd name="T4" fmla="*/ 442 w 568"/>
                <a:gd name="T5" fmla="*/ 505 h 568"/>
                <a:gd name="T6" fmla="*/ 442 w 568"/>
                <a:gd name="T7" fmla="*/ 126 h 568"/>
                <a:gd name="T8" fmla="*/ 63 w 568"/>
                <a:gd name="T9" fmla="*/ 126 h 568"/>
                <a:gd name="T10" fmla="*/ 0 w 568"/>
                <a:gd name="T11" fmla="*/ 63 h 568"/>
                <a:gd name="T12" fmla="*/ 63 w 568"/>
                <a:gd name="T13" fmla="*/ 0 h 568"/>
                <a:gd name="T14" fmla="*/ 505 w 568"/>
                <a:gd name="T15" fmla="*/ 0 h 568"/>
                <a:gd name="T16" fmla="*/ 568 w 568"/>
                <a:gd name="T17" fmla="*/ 63 h 568"/>
                <a:gd name="T18" fmla="*/ 568 w 568"/>
                <a:gd name="T19" fmla="*/ 505 h 568"/>
                <a:gd name="T20" fmla="*/ 505 w 568"/>
                <a:gd name="T21" fmla="*/ 568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8" h="568">
                  <a:moveTo>
                    <a:pt x="505" y="568"/>
                  </a:moveTo>
                  <a:lnTo>
                    <a:pt x="505" y="568"/>
                  </a:lnTo>
                  <a:cubicBezTo>
                    <a:pt x="470" y="568"/>
                    <a:pt x="442" y="540"/>
                    <a:pt x="442" y="505"/>
                  </a:cubicBezTo>
                  <a:lnTo>
                    <a:pt x="442" y="126"/>
                  </a:lnTo>
                  <a:lnTo>
                    <a:pt x="63" y="126"/>
                  </a:lnTo>
                  <a:cubicBezTo>
                    <a:pt x="29" y="126"/>
                    <a:pt x="0" y="98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lnTo>
                    <a:pt x="505" y="0"/>
                  </a:lnTo>
                  <a:cubicBezTo>
                    <a:pt x="540" y="0"/>
                    <a:pt x="568" y="28"/>
                    <a:pt x="568" y="63"/>
                  </a:cubicBezTo>
                  <a:lnTo>
                    <a:pt x="568" y="505"/>
                  </a:lnTo>
                  <a:cubicBezTo>
                    <a:pt x="568" y="540"/>
                    <a:pt x="540" y="568"/>
                    <a:pt x="505" y="568"/>
                  </a:cubicBezTo>
                  <a:close/>
                </a:path>
              </a:pathLst>
            </a:custGeom>
            <a:solidFill>
              <a:srgbClr val="EC740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+mn-cs"/>
              </a:endParaRPr>
            </a:p>
          </p:txBody>
        </p:sp>
        <p:sp>
          <p:nvSpPr>
            <p:cNvPr id="541" name="Freeform 7"/>
            <p:cNvSpPr>
              <a:spLocks/>
            </p:cNvSpPr>
            <p:nvPr/>
          </p:nvSpPr>
          <p:spPr bwMode="auto">
            <a:xfrm>
              <a:off x="1408" y="1072"/>
              <a:ext cx="130" cy="91"/>
            </a:xfrm>
            <a:custGeom>
              <a:avLst/>
              <a:gdLst>
                <a:gd name="T0" fmla="*/ 72 w 1277"/>
                <a:gd name="T1" fmla="*/ 890 h 890"/>
                <a:gd name="T2" fmla="*/ 72 w 1277"/>
                <a:gd name="T3" fmla="*/ 890 h 890"/>
                <a:gd name="T4" fmla="*/ 34 w 1277"/>
                <a:gd name="T5" fmla="*/ 878 h 890"/>
                <a:gd name="T6" fmla="*/ 21 w 1277"/>
                <a:gd name="T7" fmla="*/ 789 h 890"/>
                <a:gd name="T8" fmla="*/ 210 w 1277"/>
                <a:gd name="T9" fmla="*/ 537 h 890"/>
                <a:gd name="T10" fmla="*/ 256 w 1277"/>
                <a:gd name="T11" fmla="*/ 512 h 890"/>
                <a:gd name="T12" fmla="*/ 306 w 1277"/>
                <a:gd name="T13" fmla="*/ 530 h 890"/>
                <a:gd name="T14" fmla="*/ 377 w 1277"/>
                <a:gd name="T15" fmla="*/ 602 h 890"/>
                <a:gd name="T16" fmla="*/ 713 w 1277"/>
                <a:gd name="T17" fmla="*/ 98 h 890"/>
                <a:gd name="T18" fmla="*/ 760 w 1277"/>
                <a:gd name="T19" fmla="*/ 70 h 890"/>
                <a:gd name="T20" fmla="*/ 811 w 1277"/>
                <a:gd name="T21" fmla="*/ 88 h 890"/>
                <a:gd name="T22" fmla="*/ 955 w 1277"/>
                <a:gd name="T23" fmla="*/ 233 h 890"/>
                <a:gd name="T24" fmla="*/ 1163 w 1277"/>
                <a:gd name="T25" fmla="*/ 25 h 890"/>
                <a:gd name="T26" fmla="*/ 1252 w 1277"/>
                <a:gd name="T27" fmla="*/ 25 h 890"/>
                <a:gd name="T28" fmla="*/ 1252 w 1277"/>
                <a:gd name="T29" fmla="*/ 114 h 890"/>
                <a:gd name="T30" fmla="*/ 1000 w 1277"/>
                <a:gd name="T31" fmla="*/ 367 h 890"/>
                <a:gd name="T32" fmla="*/ 911 w 1277"/>
                <a:gd name="T33" fmla="*/ 367 h 890"/>
                <a:gd name="T34" fmla="*/ 776 w 1277"/>
                <a:gd name="T35" fmla="*/ 232 h 890"/>
                <a:gd name="T36" fmla="*/ 440 w 1277"/>
                <a:gd name="T37" fmla="*/ 736 h 890"/>
                <a:gd name="T38" fmla="*/ 393 w 1277"/>
                <a:gd name="T39" fmla="*/ 764 h 890"/>
                <a:gd name="T40" fmla="*/ 343 w 1277"/>
                <a:gd name="T41" fmla="*/ 745 h 890"/>
                <a:gd name="T42" fmla="*/ 268 w 1277"/>
                <a:gd name="T43" fmla="*/ 671 h 890"/>
                <a:gd name="T44" fmla="*/ 122 w 1277"/>
                <a:gd name="T45" fmla="*/ 865 h 890"/>
                <a:gd name="T46" fmla="*/ 72 w 1277"/>
                <a:gd name="T47" fmla="*/ 890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77" h="890">
                  <a:moveTo>
                    <a:pt x="72" y="890"/>
                  </a:moveTo>
                  <a:lnTo>
                    <a:pt x="72" y="890"/>
                  </a:lnTo>
                  <a:cubicBezTo>
                    <a:pt x="58" y="890"/>
                    <a:pt x="45" y="886"/>
                    <a:pt x="34" y="878"/>
                  </a:cubicBezTo>
                  <a:cubicBezTo>
                    <a:pt x="6" y="857"/>
                    <a:pt x="0" y="817"/>
                    <a:pt x="21" y="789"/>
                  </a:cubicBezTo>
                  <a:lnTo>
                    <a:pt x="210" y="537"/>
                  </a:lnTo>
                  <a:cubicBezTo>
                    <a:pt x="221" y="522"/>
                    <a:pt x="238" y="513"/>
                    <a:pt x="256" y="512"/>
                  </a:cubicBezTo>
                  <a:cubicBezTo>
                    <a:pt x="275" y="510"/>
                    <a:pt x="293" y="517"/>
                    <a:pt x="306" y="530"/>
                  </a:cubicBezTo>
                  <a:lnTo>
                    <a:pt x="377" y="602"/>
                  </a:lnTo>
                  <a:lnTo>
                    <a:pt x="713" y="98"/>
                  </a:lnTo>
                  <a:cubicBezTo>
                    <a:pt x="724" y="82"/>
                    <a:pt x="741" y="72"/>
                    <a:pt x="760" y="70"/>
                  </a:cubicBezTo>
                  <a:cubicBezTo>
                    <a:pt x="779" y="68"/>
                    <a:pt x="797" y="75"/>
                    <a:pt x="811" y="88"/>
                  </a:cubicBezTo>
                  <a:lnTo>
                    <a:pt x="955" y="233"/>
                  </a:lnTo>
                  <a:lnTo>
                    <a:pt x="1163" y="25"/>
                  </a:lnTo>
                  <a:cubicBezTo>
                    <a:pt x="1188" y="0"/>
                    <a:pt x="1228" y="0"/>
                    <a:pt x="1252" y="25"/>
                  </a:cubicBezTo>
                  <a:cubicBezTo>
                    <a:pt x="1277" y="50"/>
                    <a:pt x="1277" y="90"/>
                    <a:pt x="1252" y="114"/>
                  </a:cubicBezTo>
                  <a:lnTo>
                    <a:pt x="1000" y="367"/>
                  </a:lnTo>
                  <a:cubicBezTo>
                    <a:pt x="975" y="391"/>
                    <a:pt x="935" y="391"/>
                    <a:pt x="911" y="367"/>
                  </a:cubicBezTo>
                  <a:lnTo>
                    <a:pt x="776" y="232"/>
                  </a:lnTo>
                  <a:lnTo>
                    <a:pt x="440" y="736"/>
                  </a:lnTo>
                  <a:cubicBezTo>
                    <a:pt x="429" y="752"/>
                    <a:pt x="412" y="762"/>
                    <a:pt x="393" y="764"/>
                  </a:cubicBezTo>
                  <a:cubicBezTo>
                    <a:pt x="375" y="765"/>
                    <a:pt x="356" y="759"/>
                    <a:pt x="343" y="745"/>
                  </a:cubicBezTo>
                  <a:lnTo>
                    <a:pt x="268" y="671"/>
                  </a:lnTo>
                  <a:lnTo>
                    <a:pt x="122" y="865"/>
                  </a:lnTo>
                  <a:cubicBezTo>
                    <a:pt x="110" y="881"/>
                    <a:pt x="91" y="890"/>
                    <a:pt x="72" y="890"/>
                  </a:cubicBezTo>
                  <a:close/>
                </a:path>
              </a:pathLst>
            </a:custGeom>
            <a:solidFill>
              <a:srgbClr val="6F6F6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441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noProof="0" dirty="0"/>
              <a:t>Forma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CL" noProof="0" dirty="0"/>
              <a:t>Modelo de Diapositivas</a:t>
            </a: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077" y="1758950"/>
            <a:ext cx="2719387" cy="1540475"/>
          </a:xfrm>
          <a:prstGeom prst="rect">
            <a:avLst/>
          </a:prstGeom>
          <a:effectLst>
            <a:outerShdw blurRad="76200" dist="254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3076" y="3514208"/>
            <a:ext cx="2719388" cy="1540475"/>
          </a:xfrm>
          <a:prstGeom prst="rect">
            <a:avLst/>
          </a:prstGeom>
          <a:effectLst>
            <a:outerShdw blurRad="76200" dist="254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5672" y="3525230"/>
            <a:ext cx="2719027" cy="1529453"/>
          </a:xfrm>
          <a:prstGeom prst="rect">
            <a:avLst/>
          </a:prstGeom>
          <a:effectLst>
            <a:outerShdw blurRad="76200" dist="254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88364" y="1758950"/>
            <a:ext cx="2716212" cy="1536325"/>
          </a:xfrm>
          <a:prstGeom prst="rect">
            <a:avLst/>
          </a:prstGeom>
          <a:effectLst>
            <a:outerShdw blurRad="76200" dist="254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6"/>
          <a:srcRect l="556" t="970" r="633" b="1586"/>
          <a:stretch/>
        </p:blipFill>
        <p:spPr>
          <a:xfrm>
            <a:off x="539625" y="1429344"/>
            <a:ext cx="4882980" cy="2729401"/>
          </a:xfrm>
          <a:prstGeom prst="rect">
            <a:avLst/>
          </a:prstGeom>
          <a:effectLst>
            <a:outerShdw blurRad="76200" dist="25400" dir="8100000" algn="tr" rotWithShape="0">
              <a:prstClr val="black">
                <a:alpha val="25000"/>
              </a:prstClr>
            </a:outerShdw>
          </a:effectLst>
        </p:spPr>
      </p:pic>
      <p:grpSp>
        <p:nvGrpSpPr>
          <p:cNvPr id="18" name="Agrupar 17"/>
          <p:cNvGrpSpPr/>
          <p:nvPr/>
        </p:nvGrpSpPr>
        <p:grpSpPr>
          <a:xfrm>
            <a:off x="539626" y="4353746"/>
            <a:ext cx="4882980" cy="1318481"/>
            <a:chOff x="539625" y="4125433"/>
            <a:chExt cx="5911963" cy="1596323"/>
          </a:xfrm>
        </p:grpSpPr>
        <p:pic>
          <p:nvPicPr>
            <p:cNvPr id="19" name="Imagem 1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39625" y="4125433"/>
              <a:ext cx="2843544" cy="1596323"/>
            </a:xfrm>
            <a:prstGeom prst="rect">
              <a:avLst/>
            </a:prstGeom>
            <a:effectLst>
              <a:outerShdw blurRad="76200" dist="25400" dir="8100000" algn="tr" rotWithShape="0">
                <a:prstClr val="black">
                  <a:alpha val="25000"/>
                </a:prstClr>
              </a:outerShdw>
            </a:effectLst>
          </p:spPr>
        </p:pic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614999" y="4125433"/>
              <a:ext cx="2836589" cy="1596323"/>
            </a:xfrm>
            <a:prstGeom prst="rect">
              <a:avLst/>
            </a:prstGeom>
            <a:effectLst>
              <a:outerShdw blurRad="76200" dist="25400" dir="8100000" algn="tr" rotWithShape="0">
                <a:prstClr val="black">
                  <a:alpha val="25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4420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jfurN2.U6BTHCA_sYc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..1RZBGU62EALgy6fz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jfurN2.U6BTHCA_sYcGA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ovo ICB">
  <a:themeElements>
    <a:clrScheme name="Itaú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D4080"/>
      </a:accent1>
      <a:accent2>
        <a:srgbClr val="CDD7EA"/>
      </a:accent2>
      <a:accent3>
        <a:srgbClr val="73C6A1"/>
      </a:accent3>
      <a:accent4>
        <a:srgbClr val="DEF0E7"/>
      </a:accent4>
      <a:accent5>
        <a:srgbClr val="FF7800"/>
      </a:accent5>
      <a:accent6>
        <a:srgbClr val="5F6062"/>
      </a:accent6>
      <a:hlink>
        <a:srgbClr val="FF7800"/>
      </a:hlink>
      <a:folHlink>
        <a:srgbClr val="FF7800"/>
      </a:folHlink>
    </a:clrScheme>
    <a:fontScheme name="Personalizada 1">
      <a:majorFont>
        <a:latin typeface="Itau Display Light"/>
        <a:ea typeface=""/>
        <a:cs typeface=""/>
      </a:majorFont>
      <a:minorFont>
        <a:latin typeface="Itau Display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o ICB" id="{3A25983E-6336-4919-B5FC-2AC7C0BFE600}" vid="{F5E5C34A-6DF3-4B16-995E-61F967D5EDA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82</Words>
  <Application>Microsoft Office PowerPoint</Application>
  <PresentationFormat>Panorámica</PresentationFormat>
  <Paragraphs>50</Paragraphs>
  <Slides>5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5</vt:i4>
      </vt:variant>
    </vt:vector>
  </HeadingPairs>
  <TitlesOfParts>
    <vt:vector size="18" baseType="lpstr">
      <vt:lpstr>Arial</vt:lpstr>
      <vt:lpstr>Calibri</vt:lpstr>
      <vt:lpstr>Helvetica Neue</vt:lpstr>
      <vt:lpstr>Helvetica Neue Thin</vt:lpstr>
      <vt:lpstr>Itau Display</vt:lpstr>
      <vt:lpstr>Itau Display Light</vt:lpstr>
      <vt:lpstr>Itau Display Pro Bold</vt:lpstr>
      <vt:lpstr>Itau Display Pro Regular</vt:lpstr>
      <vt:lpstr>Itau Display Pro XBold</vt:lpstr>
      <vt:lpstr>Itau Display XBold</vt:lpstr>
      <vt:lpstr>Roboto</vt:lpstr>
      <vt:lpstr>White</vt:lpstr>
      <vt:lpstr>Novo ICB</vt:lpstr>
      <vt:lpstr>Presentación de PowerPoint</vt:lpstr>
      <vt:lpstr>Presentación de PowerPoint</vt:lpstr>
      <vt:lpstr>Forma</vt:lpstr>
      <vt:lpstr>Forma</vt:lpstr>
      <vt:lpstr>Form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oberto Gonzalez Sepulveda</dc:creator>
  <cp:lastModifiedBy>Roberto Gonzalez Sepulveda</cp:lastModifiedBy>
  <cp:revision>1</cp:revision>
  <dcterms:created xsi:type="dcterms:W3CDTF">2023-06-15T18:43:07Z</dcterms:created>
  <dcterms:modified xsi:type="dcterms:W3CDTF">2023-06-15T18:45:06Z</dcterms:modified>
</cp:coreProperties>
</file>